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</p:sldMasterIdLst>
  <p:notesMasterIdLst>
    <p:notesMasterId r:id="rId18"/>
  </p:notesMasterIdLst>
  <p:sldIdLst>
    <p:sldId id="256" r:id="rId4"/>
    <p:sldId id="284" r:id="rId5"/>
    <p:sldId id="273" r:id="rId6"/>
    <p:sldId id="274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94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7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7B1"/>
    <a:srgbClr val="295E7B"/>
    <a:srgbClr val="77831B"/>
    <a:srgbClr val="D0E5F0"/>
    <a:srgbClr val="6B2B95"/>
    <a:srgbClr val="DE4D1F"/>
    <a:srgbClr val="A6B726"/>
    <a:srgbClr val="97C4DD"/>
    <a:srgbClr val="FDD043"/>
    <a:srgbClr val="5E5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674"/>
  </p:normalViewPr>
  <p:slideViewPr>
    <p:cSldViewPr snapToGrid="0" showGuides="1">
      <p:cViewPr varScale="1">
        <p:scale>
          <a:sx n="105" d="100"/>
          <a:sy n="105" d="100"/>
        </p:scale>
        <p:origin x="216" y="592"/>
      </p:cViewPr>
      <p:guideLst>
        <p:guide orient="horz" pos="2160"/>
        <p:guide pos="3840"/>
        <p:guide pos="360"/>
        <p:guide pos="7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296FCF-94BC-47AB-97B0-F75810B24DF8}" type="datetimeFigureOut">
              <a:rPr lang="en-US" smtClean="0"/>
              <a:t>5/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364624-2DC8-4B80-9C98-68E330EAB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447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omajob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project%3f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riscilladupreez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project%3f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office-work%3f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akimnadell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building-abstract%3f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rfansimsar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urface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2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061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39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Priscilla Du </a:t>
            </a:r>
            <a:r>
              <a:rPr lang="en-US" dirty="0" err="1">
                <a:hlinkClick r:id="rId3"/>
              </a:rPr>
              <a:t>Preez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892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mpaign Creators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308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akim </a:t>
            </a:r>
            <a:r>
              <a:rPr lang="en-US" dirty="0" err="1">
                <a:hlinkClick r:id="rId3"/>
              </a:rPr>
              <a:t>Nådell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956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İrfan </a:t>
            </a:r>
            <a:r>
              <a:rPr lang="en-US" dirty="0" err="1">
                <a:hlinkClick r:id="rId3"/>
              </a:rPr>
              <a:t>Simsa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486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urfac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63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BD7C2-2D12-4700-864B-2C660C8A48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6C720-D4D2-4FD9-B275-0938A6D624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D0A2E1-DAF3-4329-8958-879E69DA0C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55515A-BA0A-4C98-BAB1-653A7C60A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15B756-9846-46B6-85EC-0DE251D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828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D28EF-E0F5-45D2-A81A-06F956CA0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3432D9-0691-462C-BDFA-A598B141EE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B4832-F323-4AF2-B336-248CBC5D94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A35ECA-7A0D-47E4-9274-4300B48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D9687-62C4-47BE-9F7F-89A8AEB4D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29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FFA10F-9E02-43BE-950B-4AD2B4FD27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7F27A2-77BA-49E8-A9B1-79B8B9933B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A2E62-0468-4A88-A20E-A72618F514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4DC79-294D-4293-BDD1-A576FBFB7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9168D-D875-4D8D-82FE-13013A467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598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8832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98735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1100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5570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74184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42554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8309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86143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4EE65-3F77-4E3E-9FA7-3FD93EC75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77C243-DB46-49DD-BFD1-1046616FD7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C88779-4999-454A-8791-D49314F62B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7D56F-A806-4A0A-8267-30AC2477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342DD8-CECE-44B8-A037-DC7B2C44E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3040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60283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100500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84629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413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41968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5AF48-DEAB-4C09-AC5D-0F6A423A8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8C5BC-C706-4C81-B2C8-0C51B066E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8CF15-3977-4CB6-9448-F680CA7D0D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0F82E-B501-4DAF-BA84-C840036B4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25584-C52D-4C47-9D3F-1D3D175A7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811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AB923-6EB6-4C59-84E2-9C91619BB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80910-F836-4637-8975-9DEFAF5EBE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F2FD18-CA92-4688-A623-C6D70B16F8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34D40-851A-4414-BFD2-5FB0A3F5AD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2DE2B5-7F87-4C6D-929E-DFBBD8BD7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1793D1-9605-4CA3-A57C-D0D847E55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387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6D2D7-EF05-4EE4-B50C-6D8955BA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A8F130-C5BC-4DCC-BC01-6FE139018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0A464C-F714-4691-812C-02AE00D604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8CDE48-D8F8-4E46-9705-EC47C7BA3C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ABF5A-D25B-47B2-BCEE-B7E79B1D9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06CBD8-7396-4F35-B7D3-216BE5001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47988F-559F-440A-8AD2-93D89B156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7FF2C0-F7EE-415B-B697-BF692033A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794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D6A87-6582-4750-8958-C85689B37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AB21A5-70A0-4D49-8CA9-67C79CADB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93261-BFCF-4DB1-A941-8F9401099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2C64D0-78BA-45AD-B59C-66499E2A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05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EE6F3-C837-4DA6-A76C-63A34B070B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BFA8D-9A6C-48FC-AA52-78963EFA5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BEC71-63A8-4328-8685-75DF67B74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69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81B0D-2146-4BB9-93DF-7729E5F64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91250-986C-4612-8D58-2C0F3C8E0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4AEEDA-CD48-48D9-8732-927EA3D055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1DA55E-53DC-44FC-A485-8C17F5E958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3DFBEF-9992-4726-96F9-C465EFB97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73A370-194F-4BC5-9718-D33C205C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429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504B7-430B-4E0F-9B7C-68F0E7FA6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597B1E-EE6B-452A-8966-CDF7FF4B45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9464F8-7FB1-49E1-A9F7-182043A2A8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F1B70-810E-4B63-909A-73770D167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6CA49B-9D66-4216-AF53-954A9F83C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E3F4C-3B76-496C-9462-57C342B5E1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32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18FBBE-68F1-4301-A6CA-34D0815A5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8360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F03B395-E817-4731-9C70-ED9459AFEE8B}"/>
              </a:ext>
            </a:extLst>
          </p:cNvPr>
          <p:cNvSpPr/>
          <p:nvPr userDrawn="1"/>
        </p:nvSpPr>
        <p:spPr>
          <a:xfrm rot="2708860">
            <a:off x="11230763" y="6353281"/>
            <a:ext cx="371262" cy="371262"/>
          </a:xfrm>
          <a:prstGeom prst="roundRect">
            <a:avLst>
              <a:gd name="adj" fmla="val 4271"/>
            </a:avLst>
          </a:prstGeom>
          <a:gradFill>
            <a:gsLst>
              <a:gs pos="0">
                <a:srgbClr val="295E7B"/>
              </a:gs>
              <a:gs pos="100000">
                <a:srgbClr val="3B87B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7D1B44-8612-474D-8C54-751C335C7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68C6EF-B80A-48E6-AAC2-8D9127645C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243" y="1320800"/>
            <a:ext cx="11063514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82414-A9F2-4E3B-830E-FCFD8DEB0A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029" y="6356350"/>
            <a:ext cx="422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i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C613A2AF-9881-47E7-AE38-D70ECBD229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964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94448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6AE9AA-FBCD-4206-8A63-E3A81D948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193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6AE9AA-FBCD-4206-8A63-E3A81D948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60C996-0146-46D5-B128-DCDF00682C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04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5273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microsoft.com/office/2007/relationships/hdphoto" Target="../media/hdphoto1.wdp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emf"/><Relationship Id="rId11" Type="http://schemas.openxmlformats.org/officeDocument/2006/relationships/image" Target="../media/image19.emf"/><Relationship Id="rId5" Type="http://schemas.openxmlformats.org/officeDocument/2006/relationships/image" Target="../media/image1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409C67-B8D0-4388-943C-C399344AB9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09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picture containing text, person, computer, indoor&#10;&#10;Description automatically generated">
            <a:extLst>
              <a:ext uri="{FF2B5EF4-FFF2-40B4-BE49-F238E27FC236}">
                <a16:creationId xmlns:a16="http://schemas.microsoft.com/office/drawing/2014/main" id="{EAB09AFB-0185-4266-8CE8-BAA29470FE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67" b="161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6D4E764-EDC0-48B3-AD08-F4CB17EB07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F3B129-B31A-44E3-9183-EBF0DE75D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</a:t>
            </a:fld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913BF7-D61E-4738-B681-CC051595FB41}"/>
              </a:ext>
            </a:extLst>
          </p:cNvPr>
          <p:cNvSpPr/>
          <p:nvPr/>
        </p:nvSpPr>
        <p:spPr>
          <a:xfrm rot="2708860">
            <a:off x="8464639" y="471623"/>
            <a:ext cx="5644297" cy="6612121"/>
          </a:xfrm>
          <a:custGeom>
            <a:avLst/>
            <a:gdLst>
              <a:gd name="connsiteX0" fmla="*/ 1 w 5644297"/>
              <a:gd name="connsiteY0" fmla="*/ 786521 h 6612121"/>
              <a:gd name="connsiteX1" fmla="*/ 782478 w 5644297"/>
              <a:gd name="connsiteY1" fmla="*/ 0 h 6612121"/>
              <a:gd name="connsiteX2" fmla="*/ 5644297 w 5644297"/>
              <a:gd name="connsiteY2" fmla="*/ 4836823 h 6612121"/>
              <a:gd name="connsiteX3" fmla="*/ 3878127 w 5644297"/>
              <a:gd name="connsiteY3" fmla="*/ 6612120 h 6612121"/>
              <a:gd name="connsiteX4" fmla="*/ 286177 w 5644297"/>
              <a:gd name="connsiteY4" fmla="*/ 6612121 h 6612121"/>
              <a:gd name="connsiteX5" fmla="*/ 0 w 5644297"/>
              <a:gd name="connsiteY5" fmla="*/ 6325944 h 6612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4297" h="6612121">
                <a:moveTo>
                  <a:pt x="1" y="786521"/>
                </a:moveTo>
                <a:lnTo>
                  <a:pt x="782478" y="0"/>
                </a:lnTo>
                <a:lnTo>
                  <a:pt x="5644297" y="4836823"/>
                </a:lnTo>
                <a:lnTo>
                  <a:pt x="3878127" y="6612120"/>
                </a:lnTo>
                <a:lnTo>
                  <a:pt x="286177" y="6612121"/>
                </a:lnTo>
                <a:cubicBezTo>
                  <a:pt x="128126" y="6612121"/>
                  <a:pt x="0" y="6483995"/>
                  <a:pt x="0" y="6325944"/>
                </a:cubicBezTo>
                <a:close/>
              </a:path>
            </a:pathLst>
          </a:custGeom>
          <a:gradFill>
            <a:gsLst>
              <a:gs pos="0">
                <a:srgbClr val="295E7B">
                  <a:alpha val="75000"/>
                </a:srgbClr>
              </a:gs>
              <a:gs pos="100000">
                <a:srgbClr val="3B87B1">
                  <a:alpha val="9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C86867E-5327-4F1A-9106-5BCF073FA863}"/>
              </a:ext>
            </a:extLst>
          </p:cNvPr>
          <p:cNvSpPr/>
          <p:nvPr/>
        </p:nvSpPr>
        <p:spPr>
          <a:xfrm rot="2708860">
            <a:off x="8289074" y="398635"/>
            <a:ext cx="5995429" cy="6262796"/>
          </a:xfrm>
          <a:custGeom>
            <a:avLst/>
            <a:gdLst>
              <a:gd name="connsiteX0" fmla="*/ 0 w 5995429"/>
              <a:gd name="connsiteY0" fmla="*/ 1139468 h 6262796"/>
              <a:gd name="connsiteX1" fmla="*/ 1133609 w 5995429"/>
              <a:gd name="connsiteY1" fmla="*/ 0 h 6262796"/>
              <a:gd name="connsiteX2" fmla="*/ 5995429 w 5995429"/>
              <a:gd name="connsiteY2" fmla="*/ 4836824 h 6262796"/>
              <a:gd name="connsiteX3" fmla="*/ 4576789 w 5995429"/>
              <a:gd name="connsiteY3" fmla="*/ 6262796 h 6262796"/>
              <a:gd name="connsiteX4" fmla="*/ 286177 w 5995429"/>
              <a:gd name="connsiteY4" fmla="*/ 6262796 h 6262796"/>
              <a:gd name="connsiteX5" fmla="*/ 0 w 5995429"/>
              <a:gd name="connsiteY5" fmla="*/ 5976619 h 626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5429" h="6262796">
                <a:moveTo>
                  <a:pt x="0" y="1139468"/>
                </a:moveTo>
                <a:lnTo>
                  <a:pt x="1133609" y="0"/>
                </a:lnTo>
                <a:lnTo>
                  <a:pt x="5995429" y="4836824"/>
                </a:lnTo>
                <a:lnTo>
                  <a:pt x="4576789" y="6262796"/>
                </a:lnTo>
                <a:lnTo>
                  <a:pt x="286177" y="6262796"/>
                </a:lnTo>
                <a:cubicBezTo>
                  <a:pt x="128126" y="6262796"/>
                  <a:pt x="0" y="6134670"/>
                  <a:pt x="0" y="5976619"/>
                </a:cubicBezTo>
                <a:close/>
              </a:path>
            </a:pathLst>
          </a:custGeom>
          <a:noFill/>
          <a:ln>
            <a:solidFill>
              <a:srgbClr val="97C4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6422FE6-41DD-459C-8184-141FB72642C7}"/>
              </a:ext>
            </a:extLst>
          </p:cNvPr>
          <p:cNvGrpSpPr/>
          <p:nvPr/>
        </p:nvGrpSpPr>
        <p:grpSpPr>
          <a:xfrm>
            <a:off x="765963" y="1894649"/>
            <a:ext cx="5834861" cy="3068702"/>
            <a:chOff x="765963" y="2081746"/>
            <a:chExt cx="5834861" cy="30687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05EEB8F-1D09-434D-913A-C8B4D8340850}"/>
                </a:ext>
              </a:extLst>
            </p:cNvPr>
            <p:cNvSpPr txBox="1"/>
            <p:nvPr/>
          </p:nvSpPr>
          <p:spPr>
            <a:xfrm>
              <a:off x="765963" y="2616526"/>
              <a:ext cx="5834861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6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ultiple project timelines</a:t>
              </a:r>
            </a:p>
          </p:txBody>
        </p:sp>
        <p:grpSp>
          <p:nvGrpSpPr>
            <p:cNvPr id="28" name="Graphic 45">
              <a:extLst>
                <a:ext uri="{FF2B5EF4-FFF2-40B4-BE49-F238E27FC236}">
                  <a16:creationId xmlns:a16="http://schemas.microsoft.com/office/drawing/2014/main" id="{76FBB1F2-EE73-45D1-830B-F37C12035E75}"/>
                </a:ext>
              </a:extLst>
            </p:cNvPr>
            <p:cNvGrpSpPr/>
            <p:nvPr/>
          </p:nvGrpSpPr>
          <p:grpSpPr>
            <a:xfrm>
              <a:off x="765964" y="2081746"/>
              <a:ext cx="1601478" cy="452176"/>
              <a:chOff x="4500562" y="3242309"/>
              <a:chExt cx="3194684" cy="902017"/>
            </a:xfrm>
            <a:solidFill>
              <a:srgbClr val="FFFFFF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6921249-3885-4A7F-B831-2A97FD433F77}"/>
                  </a:ext>
                </a:extLst>
              </p:cNvPr>
              <p:cNvSpPr/>
              <p:nvPr/>
            </p:nvSpPr>
            <p:spPr>
              <a:xfrm>
                <a:off x="4500562" y="3245167"/>
                <a:ext cx="449597" cy="703897"/>
              </a:xfrm>
              <a:custGeom>
                <a:avLst/>
                <a:gdLst>
                  <a:gd name="connsiteX0" fmla="*/ 319088 w 449597"/>
                  <a:gd name="connsiteY0" fmla="*/ 348671 h 703897"/>
                  <a:gd name="connsiteX1" fmla="*/ 221933 w 449597"/>
                  <a:gd name="connsiteY1" fmla="*/ 409631 h 703897"/>
                  <a:gd name="connsiteX2" fmla="*/ 80963 w 449597"/>
                  <a:gd name="connsiteY2" fmla="*/ 609656 h 703897"/>
                  <a:gd name="connsiteX3" fmla="*/ 80963 w 449597"/>
                  <a:gd name="connsiteY3" fmla="*/ 629659 h 703897"/>
                  <a:gd name="connsiteX4" fmla="*/ 421005 w 449597"/>
                  <a:gd name="connsiteY4" fmla="*/ 629659 h 703897"/>
                  <a:gd name="connsiteX5" fmla="*/ 441008 w 449597"/>
                  <a:gd name="connsiteY5" fmla="*/ 645851 h 703897"/>
                  <a:gd name="connsiteX6" fmla="*/ 441008 w 449597"/>
                  <a:gd name="connsiteY6" fmla="*/ 686809 h 703897"/>
                  <a:gd name="connsiteX7" fmla="*/ 421005 w 449597"/>
                  <a:gd name="connsiteY7" fmla="*/ 703954 h 703897"/>
                  <a:gd name="connsiteX8" fmla="*/ 20003 w 449597"/>
                  <a:gd name="connsiteY8" fmla="*/ 703954 h 703897"/>
                  <a:gd name="connsiteX9" fmla="*/ 0 w 449597"/>
                  <a:gd name="connsiteY9" fmla="*/ 685856 h 703897"/>
                  <a:gd name="connsiteX10" fmla="*/ 0 w 449597"/>
                  <a:gd name="connsiteY10" fmla="*/ 609656 h 703897"/>
                  <a:gd name="connsiteX11" fmla="*/ 154305 w 449597"/>
                  <a:gd name="connsiteY11" fmla="*/ 362959 h 703897"/>
                  <a:gd name="connsiteX12" fmla="*/ 256223 w 449597"/>
                  <a:gd name="connsiteY12" fmla="*/ 299141 h 703897"/>
                  <a:gd name="connsiteX13" fmla="*/ 360045 w 449597"/>
                  <a:gd name="connsiteY13" fmla="*/ 167696 h 703897"/>
                  <a:gd name="connsiteX14" fmla="*/ 208598 w 449597"/>
                  <a:gd name="connsiteY14" fmla="*/ 71494 h 703897"/>
                  <a:gd name="connsiteX15" fmla="*/ 29528 w 449597"/>
                  <a:gd name="connsiteY15" fmla="*/ 85781 h 703897"/>
                  <a:gd name="connsiteX16" fmla="*/ 25718 w 449597"/>
                  <a:gd name="connsiteY16" fmla="*/ 85781 h 703897"/>
                  <a:gd name="connsiteX17" fmla="*/ 9525 w 449597"/>
                  <a:gd name="connsiteY17" fmla="*/ 68636 h 703897"/>
                  <a:gd name="connsiteX18" fmla="*/ 9525 w 449597"/>
                  <a:gd name="connsiteY18" fmla="*/ 36251 h 703897"/>
                  <a:gd name="connsiteX19" fmla="*/ 28575 w 449597"/>
                  <a:gd name="connsiteY19" fmla="*/ 19106 h 703897"/>
                  <a:gd name="connsiteX20" fmla="*/ 208598 w 449597"/>
                  <a:gd name="connsiteY20" fmla="*/ 56 h 703897"/>
                  <a:gd name="connsiteX21" fmla="*/ 449580 w 449597"/>
                  <a:gd name="connsiteY21" fmla="*/ 167696 h 703897"/>
                  <a:gd name="connsiteX22" fmla="*/ 319088 w 449597"/>
                  <a:gd name="connsiteY22" fmla="*/ 348671 h 703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49597" h="703897">
                    <a:moveTo>
                      <a:pt x="319088" y="348671"/>
                    </a:moveTo>
                    <a:lnTo>
                      <a:pt x="221933" y="409631"/>
                    </a:lnTo>
                    <a:cubicBezTo>
                      <a:pt x="109538" y="480116"/>
                      <a:pt x="80963" y="527741"/>
                      <a:pt x="80963" y="609656"/>
                    </a:cubicBezTo>
                    <a:lnTo>
                      <a:pt x="80963" y="629659"/>
                    </a:lnTo>
                    <a:lnTo>
                      <a:pt x="421005" y="629659"/>
                    </a:lnTo>
                    <a:cubicBezTo>
                      <a:pt x="432435" y="629659"/>
                      <a:pt x="441008" y="635374"/>
                      <a:pt x="441008" y="645851"/>
                    </a:cubicBezTo>
                    <a:lnTo>
                      <a:pt x="441008" y="686809"/>
                    </a:lnTo>
                    <a:cubicBezTo>
                      <a:pt x="441008" y="697286"/>
                      <a:pt x="431483" y="703954"/>
                      <a:pt x="421005" y="703954"/>
                    </a:cubicBezTo>
                    <a:lnTo>
                      <a:pt x="20003" y="703954"/>
                    </a:lnTo>
                    <a:cubicBezTo>
                      <a:pt x="8573" y="703954"/>
                      <a:pt x="0" y="696334"/>
                      <a:pt x="0" y="685856"/>
                    </a:cubicBezTo>
                    <a:lnTo>
                      <a:pt x="0" y="609656"/>
                    </a:lnTo>
                    <a:cubicBezTo>
                      <a:pt x="0" y="512501"/>
                      <a:pt x="44768" y="431539"/>
                      <a:pt x="154305" y="362959"/>
                    </a:cubicBezTo>
                    <a:lnTo>
                      <a:pt x="256223" y="299141"/>
                    </a:lnTo>
                    <a:cubicBezTo>
                      <a:pt x="340043" y="246754"/>
                      <a:pt x="360045" y="223894"/>
                      <a:pt x="360045" y="167696"/>
                    </a:cubicBezTo>
                    <a:cubicBezTo>
                      <a:pt x="360045" y="100069"/>
                      <a:pt x="317183" y="71494"/>
                      <a:pt x="208598" y="71494"/>
                    </a:cubicBezTo>
                    <a:cubicBezTo>
                      <a:pt x="156210" y="71494"/>
                      <a:pt x="86678" y="78161"/>
                      <a:pt x="29528" y="85781"/>
                    </a:cubicBezTo>
                    <a:cubicBezTo>
                      <a:pt x="28575" y="85781"/>
                      <a:pt x="27623" y="85781"/>
                      <a:pt x="25718" y="85781"/>
                    </a:cubicBezTo>
                    <a:cubicBezTo>
                      <a:pt x="15240" y="85781"/>
                      <a:pt x="9525" y="79114"/>
                      <a:pt x="9525" y="68636"/>
                    </a:cubicBezTo>
                    <a:lnTo>
                      <a:pt x="9525" y="36251"/>
                    </a:lnTo>
                    <a:cubicBezTo>
                      <a:pt x="9525" y="26726"/>
                      <a:pt x="19050" y="21011"/>
                      <a:pt x="28575" y="19106"/>
                    </a:cubicBezTo>
                    <a:cubicBezTo>
                      <a:pt x="80010" y="6723"/>
                      <a:pt x="148590" y="56"/>
                      <a:pt x="208598" y="56"/>
                    </a:cubicBezTo>
                    <a:cubicBezTo>
                      <a:pt x="372428" y="56"/>
                      <a:pt x="449580" y="52444"/>
                      <a:pt x="449580" y="167696"/>
                    </a:cubicBezTo>
                    <a:cubicBezTo>
                      <a:pt x="450533" y="241991"/>
                      <a:pt x="413385" y="289616"/>
                      <a:pt x="319088" y="3486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F8512D4-E0A9-4866-A3A2-6F59BB4AF010}"/>
                  </a:ext>
                </a:extLst>
              </p:cNvPr>
              <p:cNvSpPr/>
              <p:nvPr/>
            </p:nvSpPr>
            <p:spPr>
              <a:xfrm>
                <a:off x="4755831" y="3411854"/>
                <a:ext cx="517207" cy="732472"/>
              </a:xfrm>
              <a:custGeom>
                <a:avLst/>
                <a:gdLst>
                  <a:gd name="connsiteX0" fmla="*/ 497205 w 517207"/>
                  <a:gd name="connsiteY0" fmla="*/ 537266 h 732472"/>
                  <a:gd name="connsiteX1" fmla="*/ 412433 w 517207"/>
                  <a:gd name="connsiteY1" fmla="*/ 537266 h 732472"/>
                  <a:gd name="connsiteX2" fmla="*/ 412433 w 517207"/>
                  <a:gd name="connsiteY2" fmla="*/ 712526 h 732472"/>
                  <a:gd name="connsiteX3" fmla="*/ 396240 w 517207"/>
                  <a:gd name="connsiteY3" fmla="*/ 732529 h 732472"/>
                  <a:gd name="connsiteX4" fmla="*/ 339090 w 517207"/>
                  <a:gd name="connsiteY4" fmla="*/ 732529 h 732472"/>
                  <a:gd name="connsiteX5" fmla="*/ 322898 w 517207"/>
                  <a:gd name="connsiteY5" fmla="*/ 712526 h 732472"/>
                  <a:gd name="connsiteX6" fmla="*/ 322898 w 517207"/>
                  <a:gd name="connsiteY6" fmla="*/ 537266 h 732472"/>
                  <a:gd name="connsiteX7" fmla="*/ 40005 w 517207"/>
                  <a:gd name="connsiteY7" fmla="*/ 537266 h 732472"/>
                  <a:gd name="connsiteX8" fmla="*/ 0 w 517207"/>
                  <a:gd name="connsiteY8" fmla="*/ 499166 h 732472"/>
                  <a:gd name="connsiteX9" fmla="*/ 0 w 517207"/>
                  <a:gd name="connsiteY9" fmla="*/ 461066 h 732472"/>
                  <a:gd name="connsiteX10" fmla="*/ 11430 w 517207"/>
                  <a:gd name="connsiteY10" fmla="*/ 424871 h 732472"/>
                  <a:gd name="connsiteX11" fmla="*/ 300990 w 517207"/>
                  <a:gd name="connsiteY11" fmla="*/ 16248 h 732472"/>
                  <a:gd name="connsiteX12" fmla="*/ 329565 w 517207"/>
                  <a:gd name="connsiteY12" fmla="*/ 56 h 732472"/>
                  <a:gd name="connsiteX13" fmla="*/ 387668 w 517207"/>
                  <a:gd name="connsiteY13" fmla="*/ 56 h 732472"/>
                  <a:gd name="connsiteX14" fmla="*/ 413385 w 517207"/>
                  <a:gd name="connsiteY14" fmla="*/ 21963 h 732472"/>
                  <a:gd name="connsiteX15" fmla="*/ 413385 w 517207"/>
                  <a:gd name="connsiteY15" fmla="*/ 462018 h 732472"/>
                  <a:gd name="connsiteX16" fmla="*/ 498158 w 517207"/>
                  <a:gd name="connsiteY16" fmla="*/ 462018 h 732472"/>
                  <a:gd name="connsiteX17" fmla="*/ 517208 w 517207"/>
                  <a:gd name="connsiteY17" fmla="*/ 480116 h 732472"/>
                  <a:gd name="connsiteX18" fmla="*/ 517208 w 517207"/>
                  <a:gd name="connsiteY18" fmla="*/ 519168 h 732472"/>
                  <a:gd name="connsiteX19" fmla="*/ 497205 w 517207"/>
                  <a:gd name="connsiteY19" fmla="*/ 537266 h 732472"/>
                  <a:gd name="connsiteX20" fmla="*/ 322898 w 517207"/>
                  <a:gd name="connsiteY20" fmla="*/ 125786 h 732472"/>
                  <a:gd name="connsiteX21" fmla="*/ 319088 w 517207"/>
                  <a:gd name="connsiteY21" fmla="*/ 120071 h 732472"/>
                  <a:gd name="connsiteX22" fmla="*/ 318135 w 517207"/>
                  <a:gd name="connsiteY22" fmla="*/ 120071 h 732472"/>
                  <a:gd name="connsiteX23" fmla="*/ 310515 w 517207"/>
                  <a:gd name="connsiteY23" fmla="*/ 125786 h 732472"/>
                  <a:gd name="connsiteX24" fmla="*/ 84773 w 517207"/>
                  <a:gd name="connsiteY24" fmla="*/ 448684 h 732472"/>
                  <a:gd name="connsiteX25" fmla="*/ 81915 w 517207"/>
                  <a:gd name="connsiteY25" fmla="*/ 456303 h 732472"/>
                  <a:gd name="connsiteX26" fmla="*/ 89535 w 517207"/>
                  <a:gd name="connsiteY26" fmla="*/ 462018 h 732472"/>
                  <a:gd name="connsiteX27" fmla="*/ 322898 w 517207"/>
                  <a:gd name="connsiteY27" fmla="*/ 462018 h 732472"/>
                  <a:gd name="connsiteX28" fmla="*/ 322898 w 517207"/>
                  <a:gd name="connsiteY28" fmla="*/ 125786 h 732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17207" h="732472">
                    <a:moveTo>
                      <a:pt x="497205" y="537266"/>
                    </a:moveTo>
                    <a:lnTo>
                      <a:pt x="412433" y="537266"/>
                    </a:lnTo>
                    <a:lnTo>
                      <a:pt x="412433" y="712526"/>
                    </a:lnTo>
                    <a:cubicBezTo>
                      <a:pt x="412433" y="722051"/>
                      <a:pt x="406718" y="732529"/>
                      <a:pt x="396240" y="732529"/>
                    </a:cubicBezTo>
                    <a:lnTo>
                      <a:pt x="339090" y="732529"/>
                    </a:lnTo>
                    <a:cubicBezTo>
                      <a:pt x="328613" y="732529"/>
                      <a:pt x="322898" y="723956"/>
                      <a:pt x="322898" y="712526"/>
                    </a:cubicBezTo>
                    <a:lnTo>
                      <a:pt x="322898" y="537266"/>
                    </a:lnTo>
                    <a:lnTo>
                      <a:pt x="40005" y="537266"/>
                    </a:lnTo>
                    <a:cubicBezTo>
                      <a:pt x="10478" y="537266"/>
                      <a:pt x="0" y="527741"/>
                      <a:pt x="0" y="499166"/>
                    </a:cubicBezTo>
                    <a:lnTo>
                      <a:pt x="0" y="461066"/>
                    </a:lnTo>
                    <a:cubicBezTo>
                      <a:pt x="0" y="448684"/>
                      <a:pt x="2858" y="436301"/>
                      <a:pt x="11430" y="424871"/>
                    </a:cubicBezTo>
                    <a:lnTo>
                      <a:pt x="300990" y="16248"/>
                    </a:lnTo>
                    <a:cubicBezTo>
                      <a:pt x="305753" y="8628"/>
                      <a:pt x="312420" y="56"/>
                      <a:pt x="329565" y="56"/>
                    </a:cubicBezTo>
                    <a:lnTo>
                      <a:pt x="387668" y="56"/>
                    </a:lnTo>
                    <a:cubicBezTo>
                      <a:pt x="402908" y="56"/>
                      <a:pt x="413385" y="6723"/>
                      <a:pt x="413385" y="21963"/>
                    </a:cubicBezTo>
                    <a:lnTo>
                      <a:pt x="413385" y="462018"/>
                    </a:lnTo>
                    <a:lnTo>
                      <a:pt x="498158" y="462018"/>
                    </a:lnTo>
                    <a:cubicBezTo>
                      <a:pt x="507683" y="462018"/>
                      <a:pt x="517208" y="468686"/>
                      <a:pt x="517208" y="480116"/>
                    </a:cubicBezTo>
                    <a:lnTo>
                      <a:pt x="517208" y="519168"/>
                    </a:lnTo>
                    <a:cubicBezTo>
                      <a:pt x="515303" y="530599"/>
                      <a:pt x="507683" y="537266"/>
                      <a:pt x="497205" y="537266"/>
                    </a:cubicBezTo>
                    <a:close/>
                    <a:moveTo>
                      <a:pt x="322898" y="125786"/>
                    </a:moveTo>
                    <a:cubicBezTo>
                      <a:pt x="322898" y="121976"/>
                      <a:pt x="321945" y="120071"/>
                      <a:pt x="319088" y="120071"/>
                    </a:cubicBezTo>
                    <a:cubicBezTo>
                      <a:pt x="318135" y="120071"/>
                      <a:pt x="318135" y="120071"/>
                      <a:pt x="318135" y="120071"/>
                    </a:cubicBezTo>
                    <a:cubicBezTo>
                      <a:pt x="315278" y="120071"/>
                      <a:pt x="312420" y="122929"/>
                      <a:pt x="310515" y="125786"/>
                    </a:cubicBezTo>
                    <a:lnTo>
                      <a:pt x="84773" y="448684"/>
                    </a:lnTo>
                    <a:cubicBezTo>
                      <a:pt x="82868" y="451541"/>
                      <a:pt x="81915" y="454399"/>
                      <a:pt x="81915" y="456303"/>
                    </a:cubicBezTo>
                    <a:cubicBezTo>
                      <a:pt x="81915" y="460114"/>
                      <a:pt x="84773" y="462018"/>
                      <a:pt x="89535" y="462018"/>
                    </a:cubicBezTo>
                    <a:lnTo>
                      <a:pt x="322898" y="462018"/>
                    </a:lnTo>
                    <a:lnTo>
                      <a:pt x="322898" y="12578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1" name="Graphic 45">
                <a:extLst>
                  <a:ext uri="{FF2B5EF4-FFF2-40B4-BE49-F238E27FC236}">
                    <a16:creationId xmlns:a16="http://schemas.microsoft.com/office/drawing/2014/main" id="{515B8011-F559-41D2-94F3-C624903C10C5}"/>
                  </a:ext>
                </a:extLst>
              </p:cNvPr>
              <p:cNvGrpSpPr/>
              <p:nvPr/>
            </p:nvGrpSpPr>
            <p:grpSpPr>
              <a:xfrm>
                <a:off x="5822631" y="3242309"/>
                <a:ext cx="1872614" cy="713422"/>
                <a:chOff x="5822631" y="3242309"/>
                <a:chExt cx="1872614" cy="713422"/>
              </a:xfrm>
              <a:solidFill>
                <a:srgbClr val="FFFFFF"/>
              </a:solidFill>
            </p:grpSpPr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980E21D8-5D32-4CFC-B1AD-168761A720C3}"/>
                    </a:ext>
                  </a:extLst>
                </p:cNvPr>
                <p:cNvSpPr/>
                <p:nvPr/>
              </p:nvSpPr>
              <p:spPr>
                <a:xfrm>
                  <a:off x="5822631" y="3248024"/>
                  <a:ext cx="84772" cy="701039"/>
                </a:xfrm>
                <a:custGeom>
                  <a:avLst/>
                  <a:gdLst>
                    <a:gd name="connsiteX0" fmla="*/ 80149 w 84772"/>
                    <a:gd name="connsiteY0" fmla="*/ 695381 h 701039"/>
                    <a:gd name="connsiteX1" fmla="*/ 67767 w 84772"/>
                    <a:gd name="connsiteY1" fmla="*/ 701096 h 701039"/>
                    <a:gd name="connsiteX2" fmla="*/ 17284 w 84772"/>
                    <a:gd name="connsiteY2" fmla="*/ 701096 h 701039"/>
                    <a:gd name="connsiteX3" fmla="*/ 4902 w 84772"/>
                    <a:gd name="connsiteY3" fmla="*/ 695381 h 701039"/>
                    <a:gd name="connsiteX4" fmla="*/ 139 w 84772"/>
                    <a:gd name="connsiteY4" fmla="*/ 682046 h 701039"/>
                    <a:gd name="connsiteX5" fmla="*/ 139 w 84772"/>
                    <a:gd name="connsiteY5" fmla="*/ 17201 h 701039"/>
                    <a:gd name="connsiteX6" fmla="*/ 4902 w 84772"/>
                    <a:gd name="connsiteY6" fmla="*/ 4819 h 701039"/>
                    <a:gd name="connsiteX7" fmla="*/ 17284 w 84772"/>
                    <a:gd name="connsiteY7" fmla="*/ 56 h 701039"/>
                    <a:gd name="connsiteX8" fmla="*/ 67767 w 84772"/>
                    <a:gd name="connsiteY8" fmla="*/ 56 h 701039"/>
                    <a:gd name="connsiteX9" fmla="*/ 80149 w 84772"/>
                    <a:gd name="connsiteY9" fmla="*/ 4819 h 701039"/>
                    <a:gd name="connsiteX10" fmla="*/ 84912 w 84772"/>
                    <a:gd name="connsiteY10" fmla="*/ 17201 h 701039"/>
                    <a:gd name="connsiteX11" fmla="*/ 84912 w 84772"/>
                    <a:gd name="connsiteY11" fmla="*/ 682046 h 701039"/>
                    <a:gd name="connsiteX12" fmla="*/ 80149 w 84772"/>
                    <a:gd name="connsiteY12" fmla="*/ 695381 h 701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4772" h="701039">
                      <a:moveTo>
                        <a:pt x="80149" y="695381"/>
                      </a:moveTo>
                      <a:cubicBezTo>
                        <a:pt x="77292" y="699191"/>
                        <a:pt x="72529" y="701096"/>
                        <a:pt x="67767" y="701096"/>
                      </a:cubicBezTo>
                      <a:lnTo>
                        <a:pt x="17284" y="701096"/>
                      </a:lnTo>
                      <a:cubicBezTo>
                        <a:pt x="12522" y="701096"/>
                        <a:pt x="7759" y="699191"/>
                        <a:pt x="4902" y="695381"/>
                      </a:cubicBezTo>
                      <a:cubicBezTo>
                        <a:pt x="2044" y="691571"/>
                        <a:pt x="139" y="687761"/>
                        <a:pt x="139" y="682046"/>
                      </a:cubicBezTo>
                      <a:lnTo>
                        <a:pt x="139" y="17201"/>
                      </a:lnTo>
                      <a:cubicBezTo>
                        <a:pt x="139" y="12439"/>
                        <a:pt x="2044" y="7676"/>
                        <a:pt x="4902" y="4819"/>
                      </a:cubicBezTo>
                      <a:cubicBezTo>
                        <a:pt x="7759" y="1009"/>
                        <a:pt x="12522" y="56"/>
                        <a:pt x="17284" y="56"/>
                      </a:cubicBezTo>
                      <a:lnTo>
                        <a:pt x="67767" y="56"/>
                      </a:lnTo>
                      <a:cubicBezTo>
                        <a:pt x="72529" y="56"/>
                        <a:pt x="77292" y="1961"/>
                        <a:pt x="80149" y="4819"/>
                      </a:cubicBezTo>
                      <a:cubicBezTo>
                        <a:pt x="83007" y="8629"/>
                        <a:pt x="84912" y="12439"/>
                        <a:pt x="84912" y="17201"/>
                      </a:cubicBezTo>
                      <a:lnTo>
                        <a:pt x="84912" y="682046"/>
                      </a:lnTo>
                      <a:cubicBezTo>
                        <a:pt x="84912" y="687761"/>
                        <a:pt x="83007" y="691571"/>
                        <a:pt x="80149" y="6953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7972AFE4-EA08-4E77-A9B8-09963B09E322}"/>
                    </a:ext>
                  </a:extLst>
                </p:cNvPr>
                <p:cNvSpPr/>
                <p:nvPr/>
              </p:nvSpPr>
              <p:spPr>
                <a:xfrm>
                  <a:off x="6061709" y="3242309"/>
                  <a:ext cx="87629" cy="706754"/>
                </a:xfrm>
                <a:custGeom>
                  <a:avLst/>
                  <a:gdLst>
                    <a:gd name="connsiteX0" fmla="*/ 82054 w 87629"/>
                    <a:gd name="connsiteY0" fmla="*/ 106736 h 706754"/>
                    <a:gd name="connsiteX1" fmla="*/ 68719 w 87629"/>
                    <a:gd name="connsiteY1" fmla="*/ 112451 h 706754"/>
                    <a:gd name="connsiteX2" fmla="*/ 19189 w 87629"/>
                    <a:gd name="connsiteY2" fmla="*/ 112451 h 706754"/>
                    <a:gd name="connsiteX3" fmla="*/ 5854 w 87629"/>
                    <a:gd name="connsiteY3" fmla="*/ 106736 h 706754"/>
                    <a:gd name="connsiteX4" fmla="*/ 139 w 87629"/>
                    <a:gd name="connsiteY4" fmla="*/ 93401 h 706754"/>
                    <a:gd name="connsiteX5" fmla="*/ 139 w 87629"/>
                    <a:gd name="connsiteY5" fmla="*/ 19106 h 706754"/>
                    <a:gd name="connsiteX6" fmla="*/ 5854 w 87629"/>
                    <a:gd name="connsiteY6" fmla="*/ 5771 h 706754"/>
                    <a:gd name="connsiteX7" fmla="*/ 19189 w 87629"/>
                    <a:gd name="connsiteY7" fmla="*/ 56 h 706754"/>
                    <a:gd name="connsiteX8" fmla="*/ 68719 w 87629"/>
                    <a:gd name="connsiteY8" fmla="*/ 56 h 706754"/>
                    <a:gd name="connsiteX9" fmla="*/ 82054 w 87629"/>
                    <a:gd name="connsiteY9" fmla="*/ 5771 h 706754"/>
                    <a:gd name="connsiteX10" fmla="*/ 87769 w 87629"/>
                    <a:gd name="connsiteY10" fmla="*/ 19106 h 706754"/>
                    <a:gd name="connsiteX11" fmla="*/ 87769 w 87629"/>
                    <a:gd name="connsiteY11" fmla="*/ 93401 h 706754"/>
                    <a:gd name="connsiteX12" fmla="*/ 82054 w 87629"/>
                    <a:gd name="connsiteY12" fmla="*/ 106736 h 706754"/>
                    <a:gd name="connsiteX13" fmla="*/ 80149 w 87629"/>
                    <a:gd name="connsiteY13" fmla="*/ 701096 h 706754"/>
                    <a:gd name="connsiteX14" fmla="*/ 66814 w 87629"/>
                    <a:gd name="connsiteY14" fmla="*/ 706811 h 706754"/>
                    <a:gd name="connsiteX15" fmla="*/ 20142 w 87629"/>
                    <a:gd name="connsiteY15" fmla="*/ 706811 h 706754"/>
                    <a:gd name="connsiteX16" fmla="*/ 6807 w 87629"/>
                    <a:gd name="connsiteY16" fmla="*/ 701096 h 706754"/>
                    <a:gd name="connsiteX17" fmla="*/ 1092 w 87629"/>
                    <a:gd name="connsiteY17" fmla="*/ 687761 h 706754"/>
                    <a:gd name="connsiteX18" fmla="*/ 1092 w 87629"/>
                    <a:gd name="connsiteY18" fmla="*/ 212464 h 706754"/>
                    <a:gd name="connsiteX19" fmla="*/ 6807 w 87629"/>
                    <a:gd name="connsiteY19" fmla="*/ 199129 h 706754"/>
                    <a:gd name="connsiteX20" fmla="*/ 20142 w 87629"/>
                    <a:gd name="connsiteY20" fmla="*/ 193414 h 706754"/>
                    <a:gd name="connsiteX21" fmla="*/ 66814 w 87629"/>
                    <a:gd name="connsiteY21" fmla="*/ 193414 h 706754"/>
                    <a:gd name="connsiteX22" fmla="*/ 80149 w 87629"/>
                    <a:gd name="connsiteY22" fmla="*/ 199129 h 706754"/>
                    <a:gd name="connsiteX23" fmla="*/ 85864 w 87629"/>
                    <a:gd name="connsiteY23" fmla="*/ 212464 h 706754"/>
                    <a:gd name="connsiteX24" fmla="*/ 85864 w 87629"/>
                    <a:gd name="connsiteY24" fmla="*/ 687761 h 706754"/>
                    <a:gd name="connsiteX25" fmla="*/ 80149 w 87629"/>
                    <a:gd name="connsiteY25" fmla="*/ 701096 h 706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7629" h="706754">
                      <a:moveTo>
                        <a:pt x="82054" y="106736"/>
                      </a:moveTo>
                      <a:cubicBezTo>
                        <a:pt x="78244" y="110546"/>
                        <a:pt x="73481" y="112451"/>
                        <a:pt x="68719" y="112451"/>
                      </a:cubicBezTo>
                      <a:lnTo>
                        <a:pt x="19189" y="112451"/>
                      </a:lnTo>
                      <a:cubicBezTo>
                        <a:pt x="14427" y="112451"/>
                        <a:pt x="9664" y="110546"/>
                        <a:pt x="5854" y="106736"/>
                      </a:cubicBezTo>
                      <a:cubicBezTo>
                        <a:pt x="2044" y="102926"/>
                        <a:pt x="139" y="99116"/>
                        <a:pt x="139" y="93401"/>
                      </a:cubicBezTo>
                      <a:lnTo>
                        <a:pt x="139" y="19106"/>
                      </a:lnTo>
                      <a:cubicBezTo>
                        <a:pt x="139" y="14344"/>
                        <a:pt x="2044" y="9581"/>
                        <a:pt x="5854" y="5771"/>
                      </a:cubicBezTo>
                      <a:cubicBezTo>
                        <a:pt x="9664" y="1961"/>
                        <a:pt x="14427" y="56"/>
                        <a:pt x="19189" y="56"/>
                      </a:cubicBezTo>
                      <a:lnTo>
                        <a:pt x="68719" y="56"/>
                      </a:lnTo>
                      <a:cubicBezTo>
                        <a:pt x="73481" y="56"/>
                        <a:pt x="78244" y="1961"/>
                        <a:pt x="82054" y="5771"/>
                      </a:cubicBezTo>
                      <a:cubicBezTo>
                        <a:pt x="85864" y="9581"/>
                        <a:pt x="87769" y="13391"/>
                        <a:pt x="87769" y="19106"/>
                      </a:cubicBezTo>
                      <a:lnTo>
                        <a:pt x="87769" y="93401"/>
                      </a:lnTo>
                      <a:cubicBezTo>
                        <a:pt x="87769" y="98164"/>
                        <a:pt x="85864" y="102926"/>
                        <a:pt x="82054" y="106736"/>
                      </a:cubicBezTo>
                      <a:close/>
                      <a:moveTo>
                        <a:pt x="80149" y="701096"/>
                      </a:moveTo>
                      <a:cubicBezTo>
                        <a:pt x="76339" y="704906"/>
                        <a:pt x="71577" y="706811"/>
                        <a:pt x="66814" y="706811"/>
                      </a:cubicBezTo>
                      <a:lnTo>
                        <a:pt x="20142" y="706811"/>
                      </a:lnTo>
                      <a:cubicBezTo>
                        <a:pt x="15379" y="706811"/>
                        <a:pt x="10617" y="704906"/>
                        <a:pt x="6807" y="701096"/>
                      </a:cubicBezTo>
                      <a:cubicBezTo>
                        <a:pt x="2997" y="697286"/>
                        <a:pt x="1092" y="693476"/>
                        <a:pt x="1092" y="687761"/>
                      </a:cubicBezTo>
                      <a:lnTo>
                        <a:pt x="1092" y="212464"/>
                      </a:lnTo>
                      <a:cubicBezTo>
                        <a:pt x="1092" y="207701"/>
                        <a:pt x="2997" y="202939"/>
                        <a:pt x="6807" y="199129"/>
                      </a:cubicBezTo>
                      <a:cubicBezTo>
                        <a:pt x="10617" y="195319"/>
                        <a:pt x="15379" y="193414"/>
                        <a:pt x="20142" y="193414"/>
                      </a:cubicBezTo>
                      <a:lnTo>
                        <a:pt x="66814" y="193414"/>
                      </a:lnTo>
                      <a:cubicBezTo>
                        <a:pt x="71577" y="193414"/>
                        <a:pt x="76339" y="195319"/>
                        <a:pt x="80149" y="199129"/>
                      </a:cubicBezTo>
                      <a:cubicBezTo>
                        <a:pt x="83959" y="202939"/>
                        <a:pt x="85864" y="206749"/>
                        <a:pt x="85864" y="212464"/>
                      </a:cubicBezTo>
                      <a:lnTo>
                        <a:pt x="85864" y="687761"/>
                      </a:lnTo>
                      <a:cubicBezTo>
                        <a:pt x="85864" y="693476"/>
                        <a:pt x="83959" y="697286"/>
                        <a:pt x="80149" y="70109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8900B608-F9A6-49B3-8A35-C23DF62A65A0}"/>
                    </a:ext>
                  </a:extLst>
                </p:cNvPr>
                <p:cNvSpPr/>
                <p:nvPr/>
              </p:nvSpPr>
              <p:spPr>
                <a:xfrm>
                  <a:off x="6275069" y="3248977"/>
                  <a:ext cx="414337" cy="706755"/>
                </a:xfrm>
                <a:custGeom>
                  <a:avLst/>
                  <a:gdLst>
                    <a:gd name="connsiteX0" fmla="*/ 410667 w 414337"/>
                    <a:gd name="connsiteY0" fmla="*/ 683951 h 706755"/>
                    <a:gd name="connsiteX1" fmla="*/ 393522 w 414337"/>
                    <a:gd name="connsiteY1" fmla="*/ 690619 h 706755"/>
                    <a:gd name="connsiteX2" fmla="*/ 303034 w 414337"/>
                    <a:gd name="connsiteY2" fmla="*/ 703001 h 706755"/>
                    <a:gd name="connsiteX3" fmla="*/ 213499 w 414337"/>
                    <a:gd name="connsiteY3" fmla="*/ 706811 h 706755"/>
                    <a:gd name="connsiteX4" fmla="*/ 118249 w 414337"/>
                    <a:gd name="connsiteY4" fmla="*/ 690619 h 706755"/>
                    <a:gd name="connsiteX5" fmla="*/ 51574 w 414337"/>
                    <a:gd name="connsiteY5" fmla="*/ 643946 h 706755"/>
                    <a:gd name="connsiteX6" fmla="*/ 12521 w 414337"/>
                    <a:gd name="connsiteY6" fmla="*/ 571556 h 706755"/>
                    <a:gd name="connsiteX7" fmla="*/ 139 w 414337"/>
                    <a:gd name="connsiteY7" fmla="*/ 477259 h 706755"/>
                    <a:gd name="connsiteX8" fmla="*/ 139 w 414337"/>
                    <a:gd name="connsiteY8" fmla="*/ 410584 h 706755"/>
                    <a:gd name="connsiteX9" fmla="*/ 53479 w 414337"/>
                    <a:gd name="connsiteY9" fmla="*/ 241039 h 706755"/>
                    <a:gd name="connsiteX10" fmla="*/ 214452 w 414337"/>
                    <a:gd name="connsiteY10" fmla="*/ 181984 h 706755"/>
                    <a:gd name="connsiteX11" fmla="*/ 268744 w 414337"/>
                    <a:gd name="connsiteY11" fmla="*/ 183889 h 706755"/>
                    <a:gd name="connsiteX12" fmla="*/ 328752 w 414337"/>
                    <a:gd name="connsiteY12" fmla="*/ 190556 h 706755"/>
                    <a:gd name="connsiteX13" fmla="*/ 328752 w 414337"/>
                    <a:gd name="connsiteY13" fmla="*/ 17201 h 706755"/>
                    <a:gd name="connsiteX14" fmla="*/ 334467 w 414337"/>
                    <a:gd name="connsiteY14" fmla="*/ 4819 h 706755"/>
                    <a:gd name="connsiteX15" fmla="*/ 347802 w 414337"/>
                    <a:gd name="connsiteY15" fmla="*/ 56 h 706755"/>
                    <a:gd name="connsiteX16" fmla="*/ 397332 w 414337"/>
                    <a:gd name="connsiteY16" fmla="*/ 56 h 706755"/>
                    <a:gd name="connsiteX17" fmla="*/ 409714 w 414337"/>
                    <a:gd name="connsiteY17" fmla="*/ 4819 h 706755"/>
                    <a:gd name="connsiteX18" fmla="*/ 414477 w 414337"/>
                    <a:gd name="connsiteY18" fmla="*/ 17201 h 706755"/>
                    <a:gd name="connsiteX19" fmla="*/ 414477 w 414337"/>
                    <a:gd name="connsiteY19" fmla="*/ 669664 h 706755"/>
                    <a:gd name="connsiteX20" fmla="*/ 410667 w 414337"/>
                    <a:gd name="connsiteY20" fmla="*/ 683951 h 706755"/>
                    <a:gd name="connsiteX21" fmla="*/ 327799 w 414337"/>
                    <a:gd name="connsiteY21" fmla="*/ 259136 h 706755"/>
                    <a:gd name="connsiteX22" fmla="*/ 269697 w 414337"/>
                    <a:gd name="connsiteY22" fmla="*/ 253421 h 706755"/>
                    <a:gd name="connsiteX23" fmla="*/ 212547 w 414337"/>
                    <a:gd name="connsiteY23" fmla="*/ 252469 h 706755"/>
                    <a:gd name="connsiteX24" fmla="*/ 113487 w 414337"/>
                    <a:gd name="connsiteY24" fmla="*/ 293426 h 706755"/>
                    <a:gd name="connsiteX25" fmla="*/ 85864 w 414337"/>
                    <a:gd name="connsiteY25" fmla="*/ 408679 h 706755"/>
                    <a:gd name="connsiteX26" fmla="*/ 85864 w 414337"/>
                    <a:gd name="connsiteY26" fmla="*/ 475354 h 706755"/>
                    <a:gd name="connsiteX27" fmla="*/ 113487 w 414337"/>
                    <a:gd name="connsiteY27" fmla="*/ 592511 h 706755"/>
                    <a:gd name="connsiteX28" fmla="*/ 213499 w 414337"/>
                    <a:gd name="connsiteY28" fmla="*/ 633469 h 706755"/>
                    <a:gd name="connsiteX29" fmla="*/ 270649 w 414337"/>
                    <a:gd name="connsiteY29" fmla="*/ 631564 h 706755"/>
                    <a:gd name="connsiteX30" fmla="*/ 327799 w 414337"/>
                    <a:gd name="connsiteY30" fmla="*/ 627754 h 706755"/>
                    <a:gd name="connsiteX31" fmla="*/ 327799 w 414337"/>
                    <a:gd name="connsiteY31" fmla="*/ 259136 h 706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414337" h="706755">
                      <a:moveTo>
                        <a:pt x="410667" y="683951"/>
                      </a:moveTo>
                      <a:cubicBezTo>
                        <a:pt x="408761" y="687761"/>
                        <a:pt x="403047" y="689666"/>
                        <a:pt x="393522" y="690619"/>
                      </a:cubicBezTo>
                      <a:cubicBezTo>
                        <a:pt x="363042" y="696334"/>
                        <a:pt x="332561" y="700144"/>
                        <a:pt x="303034" y="703001"/>
                      </a:cubicBezTo>
                      <a:cubicBezTo>
                        <a:pt x="273507" y="705859"/>
                        <a:pt x="243027" y="706811"/>
                        <a:pt x="213499" y="706811"/>
                      </a:cubicBezTo>
                      <a:cubicBezTo>
                        <a:pt x="177304" y="706811"/>
                        <a:pt x="144919" y="701096"/>
                        <a:pt x="118249" y="690619"/>
                      </a:cubicBezTo>
                      <a:cubicBezTo>
                        <a:pt x="91579" y="680141"/>
                        <a:pt x="69671" y="663949"/>
                        <a:pt x="51574" y="643946"/>
                      </a:cubicBezTo>
                      <a:cubicBezTo>
                        <a:pt x="33477" y="623944"/>
                        <a:pt x="21094" y="599179"/>
                        <a:pt x="12521" y="571556"/>
                      </a:cubicBezTo>
                      <a:cubicBezTo>
                        <a:pt x="3949" y="542981"/>
                        <a:pt x="139" y="511549"/>
                        <a:pt x="139" y="477259"/>
                      </a:cubicBezTo>
                      <a:lnTo>
                        <a:pt x="139" y="410584"/>
                      </a:lnTo>
                      <a:cubicBezTo>
                        <a:pt x="139" y="337241"/>
                        <a:pt x="18237" y="281044"/>
                        <a:pt x="53479" y="241039"/>
                      </a:cubicBezTo>
                      <a:cubicBezTo>
                        <a:pt x="88721" y="201986"/>
                        <a:pt x="142062" y="181984"/>
                        <a:pt x="214452" y="181984"/>
                      </a:cubicBezTo>
                      <a:cubicBezTo>
                        <a:pt x="229692" y="181984"/>
                        <a:pt x="247789" y="182936"/>
                        <a:pt x="268744" y="183889"/>
                      </a:cubicBezTo>
                      <a:cubicBezTo>
                        <a:pt x="289699" y="185794"/>
                        <a:pt x="309702" y="187699"/>
                        <a:pt x="328752" y="190556"/>
                      </a:cubicBezTo>
                      <a:lnTo>
                        <a:pt x="328752" y="17201"/>
                      </a:lnTo>
                      <a:cubicBezTo>
                        <a:pt x="328752" y="12439"/>
                        <a:pt x="330657" y="7676"/>
                        <a:pt x="334467" y="4819"/>
                      </a:cubicBezTo>
                      <a:cubicBezTo>
                        <a:pt x="338277" y="1008"/>
                        <a:pt x="342086" y="56"/>
                        <a:pt x="347802" y="56"/>
                      </a:cubicBezTo>
                      <a:lnTo>
                        <a:pt x="397332" y="56"/>
                      </a:lnTo>
                      <a:cubicBezTo>
                        <a:pt x="402094" y="56"/>
                        <a:pt x="406857" y="1961"/>
                        <a:pt x="409714" y="4819"/>
                      </a:cubicBezTo>
                      <a:cubicBezTo>
                        <a:pt x="412572" y="8629"/>
                        <a:pt x="414477" y="12439"/>
                        <a:pt x="414477" y="17201"/>
                      </a:cubicBezTo>
                      <a:lnTo>
                        <a:pt x="414477" y="669664"/>
                      </a:lnTo>
                      <a:cubicBezTo>
                        <a:pt x="413524" y="675379"/>
                        <a:pt x="412572" y="680141"/>
                        <a:pt x="410667" y="683951"/>
                      </a:cubicBezTo>
                      <a:close/>
                      <a:moveTo>
                        <a:pt x="327799" y="259136"/>
                      </a:moveTo>
                      <a:cubicBezTo>
                        <a:pt x="311607" y="256279"/>
                        <a:pt x="292557" y="254374"/>
                        <a:pt x="269697" y="253421"/>
                      </a:cubicBezTo>
                      <a:cubicBezTo>
                        <a:pt x="247789" y="252469"/>
                        <a:pt x="228739" y="252469"/>
                        <a:pt x="212547" y="252469"/>
                      </a:cubicBezTo>
                      <a:cubicBezTo>
                        <a:pt x="164922" y="252469"/>
                        <a:pt x="131584" y="265804"/>
                        <a:pt x="113487" y="293426"/>
                      </a:cubicBezTo>
                      <a:cubicBezTo>
                        <a:pt x="94437" y="321049"/>
                        <a:pt x="85864" y="359149"/>
                        <a:pt x="85864" y="408679"/>
                      </a:cubicBezTo>
                      <a:lnTo>
                        <a:pt x="85864" y="475354"/>
                      </a:lnTo>
                      <a:cubicBezTo>
                        <a:pt x="85864" y="525836"/>
                        <a:pt x="95389" y="565841"/>
                        <a:pt x="113487" y="592511"/>
                      </a:cubicBezTo>
                      <a:cubicBezTo>
                        <a:pt x="131584" y="620134"/>
                        <a:pt x="164922" y="633469"/>
                        <a:pt x="213499" y="633469"/>
                      </a:cubicBezTo>
                      <a:cubicBezTo>
                        <a:pt x="230644" y="633469"/>
                        <a:pt x="249694" y="632516"/>
                        <a:pt x="270649" y="631564"/>
                      </a:cubicBezTo>
                      <a:cubicBezTo>
                        <a:pt x="291604" y="630611"/>
                        <a:pt x="310654" y="628706"/>
                        <a:pt x="327799" y="627754"/>
                      </a:cubicBezTo>
                      <a:lnTo>
                        <a:pt x="327799" y="2591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51FC35B6-780E-4054-8174-7C20A7995FB5}"/>
                    </a:ext>
                  </a:extLst>
                </p:cNvPr>
                <p:cNvSpPr/>
                <p:nvPr/>
              </p:nvSpPr>
              <p:spPr>
                <a:xfrm>
                  <a:off x="6804659" y="3428046"/>
                  <a:ext cx="433387" cy="525779"/>
                </a:xfrm>
                <a:custGeom>
                  <a:avLst/>
                  <a:gdLst>
                    <a:gd name="connsiteX0" fmla="*/ 413524 w 433387"/>
                    <a:gd name="connsiteY0" fmla="*/ 290569 h 525779"/>
                    <a:gd name="connsiteX1" fmla="*/ 85864 w 433387"/>
                    <a:gd name="connsiteY1" fmla="*/ 290569 h 525779"/>
                    <a:gd name="connsiteX2" fmla="*/ 85864 w 433387"/>
                    <a:gd name="connsiteY2" fmla="*/ 303904 h 525779"/>
                    <a:gd name="connsiteX3" fmla="*/ 120154 w 433387"/>
                    <a:gd name="connsiteY3" fmla="*/ 421061 h 525779"/>
                    <a:gd name="connsiteX4" fmla="*/ 222071 w 433387"/>
                    <a:gd name="connsiteY4" fmla="*/ 455351 h 525779"/>
                    <a:gd name="connsiteX5" fmla="*/ 313512 w 433387"/>
                    <a:gd name="connsiteY5" fmla="*/ 452494 h 525779"/>
                    <a:gd name="connsiteX6" fmla="*/ 396379 w 433387"/>
                    <a:gd name="connsiteY6" fmla="*/ 444874 h 525779"/>
                    <a:gd name="connsiteX7" fmla="*/ 401142 w 433387"/>
                    <a:gd name="connsiteY7" fmla="*/ 444874 h 525779"/>
                    <a:gd name="connsiteX8" fmla="*/ 411619 w 433387"/>
                    <a:gd name="connsiteY8" fmla="*/ 447731 h 525779"/>
                    <a:gd name="connsiteX9" fmla="*/ 416382 w 433387"/>
                    <a:gd name="connsiteY9" fmla="*/ 458209 h 525779"/>
                    <a:gd name="connsiteX10" fmla="*/ 416382 w 433387"/>
                    <a:gd name="connsiteY10" fmla="*/ 489641 h 525779"/>
                    <a:gd name="connsiteX11" fmla="*/ 412571 w 433387"/>
                    <a:gd name="connsiteY11" fmla="*/ 503929 h 525779"/>
                    <a:gd name="connsiteX12" fmla="*/ 397332 w 433387"/>
                    <a:gd name="connsiteY12" fmla="*/ 510596 h 525779"/>
                    <a:gd name="connsiteX13" fmla="*/ 313512 w 433387"/>
                    <a:gd name="connsiteY13" fmla="*/ 522026 h 525779"/>
                    <a:gd name="connsiteX14" fmla="*/ 222071 w 433387"/>
                    <a:gd name="connsiteY14" fmla="*/ 525836 h 525779"/>
                    <a:gd name="connsiteX15" fmla="*/ 140156 w 433387"/>
                    <a:gd name="connsiteY15" fmla="*/ 515359 h 525779"/>
                    <a:gd name="connsiteX16" fmla="*/ 68719 w 433387"/>
                    <a:gd name="connsiteY16" fmla="*/ 479163 h 525779"/>
                    <a:gd name="connsiteX17" fmla="*/ 19189 w 433387"/>
                    <a:gd name="connsiteY17" fmla="*/ 410584 h 525779"/>
                    <a:gd name="connsiteX18" fmla="*/ 139 w 433387"/>
                    <a:gd name="connsiteY18" fmla="*/ 301999 h 525779"/>
                    <a:gd name="connsiteX19" fmla="*/ 139 w 433387"/>
                    <a:gd name="connsiteY19" fmla="*/ 218179 h 525779"/>
                    <a:gd name="connsiteX20" fmla="*/ 56337 w 433387"/>
                    <a:gd name="connsiteY20" fmla="*/ 59111 h 525779"/>
                    <a:gd name="connsiteX21" fmla="*/ 218262 w 433387"/>
                    <a:gd name="connsiteY21" fmla="*/ 56 h 525779"/>
                    <a:gd name="connsiteX22" fmla="*/ 312559 w 433387"/>
                    <a:gd name="connsiteY22" fmla="*/ 15296 h 525779"/>
                    <a:gd name="connsiteX23" fmla="*/ 379234 w 433387"/>
                    <a:gd name="connsiteY23" fmla="*/ 59111 h 525779"/>
                    <a:gd name="connsiteX24" fmla="*/ 420192 w 433387"/>
                    <a:gd name="connsiteY24" fmla="*/ 127691 h 525779"/>
                    <a:gd name="connsiteX25" fmla="*/ 433526 w 433387"/>
                    <a:gd name="connsiteY25" fmla="*/ 217226 h 525779"/>
                    <a:gd name="connsiteX26" fmla="*/ 433526 w 433387"/>
                    <a:gd name="connsiteY26" fmla="*/ 267709 h 525779"/>
                    <a:gd name="connsiteX27" fmla="*/ 413524 w 433387"/>
                    <a:gd name="connsiteY27" fmla="*/ 290569 h 525779"/>
                    <a:gd name="connsiteX28" fmla="*/ 345896 w 433387"/>
                    <a:gd name="connsiteY28" fmla="*/ 220084 h 525779"/>
                    <a:gd name="connsiteX29" fmla="*/ 313512 w 433387"/>
                    <a:gd name="connsiteY29" fmla="*/ 107689 h 525779"/>
                    <a:gd name="connsiteX30" fmla="*/ 216356 w 433387"/>
                    <a:gd name="connsiteY30" fmla="*/ 74351 h 525779"/>
                    <a:gd name="connsiteX31" fmla="*/ 118249 w 433387"/>
                    <a:gd name="connsiteY31" fmla="*/ 109594 h 525779"/>
                    <a:gd name="connsiteX32" fmla="*/ 83959 w 433387"/>
                    <a:gd name="connsiteY32" fmla="*/ 220084 h 525779"/>
                    <a:gd name="connsiteX33" fmla="*/ 83959 w 433387"/>
                    <a:gd name="connsiteY33" fmla="*/ 228656 h 525779"/>
                    <a:gd name="connsiteX34" fmla="*/ 343992 w 433387"/>
                    <a:gd name="connsiteY34" fmla="*/ 228656 h 525779"/>
                    <a:gd name="connsiteX35" fmla="*/ 343992 w 433387"/>
                    <a:gd name="connsiteY35" fmla="*/ 220084 h 525779"/>
                    <a:gd name="connsiteX36" fmla="*/ 345896 w 433387"/>
                    <a:gd name="connsiteY36" fmla="*/ 220084 h 52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433387" h="525779">
                      <a:moveTo>
                        <a:pt x="413524" y="290569"/>
                      </a:moveTo>
                      <a:lnTo>
                        <a:pt x="85864" y="290569"/>
                      </a:lnTo>
                      <a:lnTo>
                        <a:pt x="85864" y="303904"/>
                      </a:lnTo>
                      <a:cubicBezTo>
                        <a:pt x="85864" y="359149"/>
                        <a:pt x="97294" y="398201"/>
                        <a:pt x="120154" y="421061"/>
                      </a:cubicBezTo>
                      <a:cubicBezTo>
                        <a:pt x="143014" y="443921"/>
                        <a:pt x="177304" y="455351"/>
                        <a:pt x="222071" y="455351"/>
                      </a:cubicBezTo>
                      <a:cubicBezTo>
                        <a:pt x="250646" y="455351"/>
                        <a:pt x="281126" y="454399"/>
                        <a:pt x="313512" y="452494"/>
                      </a:cubicBezTo>
                      <a:cubicBezTo>
                        <a:pt x="345896" y="450588"/>
                        <a:pt x="373519" y="447731"/>
                        <a:pt x="396379" y="444874"/>
                      </a:cubicBezTo>
                      <a:lnTo>
                        <a:pt x="401142" y="444874"/>
                      </a:lnTo>
                      <a:cubicBezTo>
                        <a:pt x="404951" y="444874"/>
                        <a:pt x="408762" y="445826"/>
                        <a:pt x="411619" y="447731"/>
                      </a:cubicBezTo>
                      <a:cubicBezTo>
                        <a:pt x="414476" y="449636"/>
                        <a:pt x="416382" y="453446"/>
                        <a:pt x="416382" y="458209"/>
                      </a:cubicBezTo>
                      <a:lnTo>
                        <a:pt x="416382" y="489641"/>
                      </a:lnTo>
                      <a:cubicBezTo>
                        <a:pt x="416382" y="496309"/>
                        <a:pt x="415429" y="501071"/>
                        <a:pt x="412571" y="503929"/>
                      </a:cubicBezTo>
                      <a:cubicBezTo>
                        <a:pt x="409714" y="507738"/>
                        <a:pt x="404951" y="509644"/>
                        <a:pt x="397332" y="510596"/>
                      </a:cubicBezTo>
                      <a:cubicBezTo>
                        <a:pt x="369709" y="515359"/>
                        <a:pt x="341134" y="519169"/>
                        <a:pt x="313512" y="522026"/>
                      </a:cubicBezTo>
                      <a:cubicBezTo>
                        <a:pt x="285889" y="524884"/>
                        <a:pt x="255409" y="525836"/>
                        <a:pt x="222071" y="525836"/>
                      </a:cubicBezTo>
                      <a:cubicBezTo>
                        <a:pt x="194449" y="525836"/>
                        <a:pt x="166827" y="522026"/>
                        <a:pt x="140156" y="515359"/>
                      </a:cubicBezTo>
                      <a:cubicBezTo>
                        <a:pt x="113487" y="508691"/>
                        <a:pt x="89674" y="496309"/>
                        <a:pt x="68719" y="479163"/>
                      </a:cubicBezTo>
                      <a:cubicBezTo>
                        <a:pt x="47764" y="462019"/>
                        <a:pt x="31571" y="439159"/>
                        <a:pt x="19189" y="410584"/>
                      </a:cubicBezTo>
                      <a:cubicBezTo>
                        <a:pt x="6806" y="382009"/>
                        <a:pt x="139" y="345814"/>
                        <a:pt x="139" y="301999"/>
                      </a:cubicBezTo>
                      <a:lnTo>
                        <a:pt x="139" y="218179"/>
                      </a:lnTo>
                      <a:cubicBezTo>
                        <a:pt x="139" y="151504"/>
                        <a:pt x="19189" y="98164"/>
                        <a:pt x="56337" y="59111"/>
                      </a:cubicBezTo>
                      <a:cubicBezTo>
                        <a:pt x="93484" y="20059"/>
                        <a:pt x="147777" y="56"/>
                        <a:pt x="218262" y="56"/>
                      </a:cubicBezTo>
                      <a:cubicBezTo>
                        <a:pt x="254457" y="56"/>
                        <a:pt x="285889" y="4819"/>
                        <a:pt x="312559" y="15296"/>
                      </a:cubicBezTo>
                      <a:cubicBezTo>
                        <a:pt x="339229" y="25774"/>
                        <a:pt x="362089" y="40061"/>
                        <a:pt x="379234" y="59111"/>
                      </a:cubicBezTo>
                      <a:cubicBezTo>
                        <a:pt x="397332" y="78161"/>
                        <a:pt x="410667" y="101021"/>
                        <a:pt x="420192" y="127691"/>
                      </a:cubicBezTo>
                      <a:cubicBezTo>
                        <a:pt x="429717" y="154361"/>
                        <a:pt x="433526" y="184841"/>
                        <a:pt x="433526" y="217226"/>
                      </a:cubicBezTo>
                      <a:lnTo>
                        <a:pt x="433526" y="267709"/>
                      </a:lnTo>
                      <a:cubicBezTo>
                        <a:pt x="432574" y="283901"/>
                        <a:pt x="425907" y="290569"/>
                        <a:pt x="413524" y="290569"/>
                      </a:cubicBezTo>
                      <a:close/>
                      <a:moveTo>
                        <a:pt x="345896" y="220084"/>
                      </a:moveTo>
                      <a:cubicBezTo>
                        <a:pt x="345896" y="167696"/>
                        <a:pt x="335419" y="129596"/>
                        <a:pt x="313512" y="107689"/>
                      </a:cubicBezTo>
                      <a:cubicBezTo>
                        <a:pt x="292557" y="85781"/>
                        <a:pt x="260171" y="74351"/>
                        <a:pt x="216356" y="74351"/>
                      </a:cubicBezTo>
                      <a:cubicBezTo>
                        <a:pt x="173494" y="74351"/>
                        <a:pt x="141109" y="85781"/>
                        <a:pt x="118249" y="109594"/>
                      </a:cubicBezTo>
                      <a:cubicBezTo>
                        <a:pt x="95389" y="133406"/>
                        <a:pt x="83959" y="170554"/>
                        <a:pt x="83959" y="220084"/>
                      </a:cubicBezTo>
                      <a:lnTo>
                        <a:pt x="83959" y="228656"/>
                      </a:lnTo>
                      <a:lnTo>
                        <a:pt x="343992" y="228656"/>
                      </a:lnTo>
                      <a:lnTo>
                        <a:pt x="343992" y="220084"/>
                      </a:lnTo>
                      <a:lnTo>
                        <a:pt x="345896" y="2200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50502711-2FDC-47F8-BD32-C12D90E651E5}"/>
                    </a:ext>
                  </a:extLst>
                </p:cNvPr>
                <p:cNvSpPr/>
                <p:nvPr/>
              </p:nvSpPr>
              <p:spPr>
                <a:xfrm>
                  <a:off x="7337107" y="3428999"/>
                  <a:ext cx="358139" cy="526732"/>
                </a:xfrm>
                <a:custGeom>
                  <a:avLst/>
                  <a:gdLst>
                    <a:gd name="connsiteX0" fmla="*/ 358279 w 358139"/>
                    <a:gd name="connsiteY0" fmla="*/ 391534 h 526732"/>
                    <a:gd name="connsiteX1" fmla="*/ 307797 w 358139"/>
                    <a:gd name="connsiteY1" fmla="*/ 494404 h 526732"/>
                    <a:gd name="connsiteX2" fmla="*/ 175399 w 358139"/>
                    <a:gd name="connsiteY2" fmla="*/ 526789 h 526732"/>
                    <a:gd name="connsiteX3" fmla="*/ 143014 w 358139"/>
                    <a:gd name="connsiteY3" fmla="*/ 526789 h 526732"/>
                    <a:gd name="connsiteX4" fmla="*/ 103009 w 358139"/>
                    <a:gd name="connsiteY4" fmla="*/ 524884 h 526732"/>
                    <a:gd name="connsiteX5" fmla="*/ 60147 w 358139"/>
                    <a:gd name="connsiteY5" fmla="*/ 520121 h 526732"/>
                    <a:gd name="connsiteX6" fmla="*/ 21094 w 358139"/>
                    <a:gd name="connsiteY6" fmla="*/ 513454 h 526732"/>
                    <a:gd name="connsiteX7" fmla="*/ 139 w 358139"/>
                    <a:gd name="connsiteY7" fmla="*/ 494404 h 526732"/>
                    <a:gd name="connsiteX8" fmla="*/ 139 w 358139"/>
                    <a:gd name="connsiteY8" fmla="*/ 462019 h 526732"/>
                    <a:gd name="connsiteX9" fmla="*/ 4902 w 358139"/>
                    <a:gd name="connsiteY9" fmla="*/ 451541 h 526732"/>
                    <a:gd name="connsiteX10" fmla="*/ 17284 w 358139"/>
                    <a:gd name="connsiteY10" fmla="*/ 447731 h 526732"/>
                    <a:gd name="connsiteX11" fmla="*/ 21094 w 358139"/>
                    <a:gd name="connsiteY11" fmla="*/ 447731 h 526732"/>
                    <a:gd name="connsiteX12" fmla="*/ 60147 w 358139"/>
                    <a:gd name="connsiteY12" fmla="*/ 451541 h 526732"/>
                    <a:gd name="connsiteX13" fmla="*/ 103009 w 358139"/>
                    <a:gd name="connsiteY13" fmla="*/ 454398 h 526732"/>
                    <a:gd name="connsiteX14" fmla="*/ 143966 w 358139"/>
                    <a:gd name="connsiteY14" fmla="*/ 456304 h 526732"/>
                    <a:gd name="connsiteX15" fmla="*/ 175399 w 358139"/>
                    <a:gd name="connsiteY15" fmla="*/ 457256 h 526732"/>
                    <a:gd name="connsiteX16" fmla="*/ 247789 w 358139"/>
                    <a:gd name="connsiteY16" fmla="*/ 442969 h 526732"/>
                    <a:gd name="connsiteX17" fmla="*/ 272554 w 358139"/>
                    <a:gd name="connsiteY17" fmla="*/ 390581 h 526732"/>
                    <a:gd name="connsiteX18" fmla="*/ 257314 w 358139"/>
                    <a:gd name="connsiteY18" fmla="*/ 353434 h 526732"/>
                    <a:gd name="connsiteX19" fmla="*/ 199211 w 358139"/>
                    <a:gd name="connsiteY19" fmla="*/ 313429 h 526732"/>
                    <a:gd name="connsiteX20" fmla="*/ 100152 w 358139"/>
                    <a:gd name="connsiteY20" fmla="*/ 257231 h 526732"/>
                    <a:gd name="connsiteX21" fmla="*/ 27761 w 358139"/>
                    <a:gd name="connsiteY21" fmla="*/ 200081 h 526732"/>
                    <a:gd name="connsiteX22" fmla="*/ 139 w 358139"/>
                    <a:gd name="connsiteY22" fmla="*/ 123881 h 526732"/>
                    <a:gd name="connsiteX23" fmla="*/ 13474 w 358139"/>
                    <a:gd name="connsiteY23" fmla="*/ 63874 h 526732"/>
                    <a:gd name="connsiteX24" fmla="*/ 50622 w 358139"/>
                    <a:gd name="connsiteY24" fmla="*/ 25774 h 526732"/>
                    <a:gd name="connsiteX25" fmla="*/ 106819 w 358139"/>
                    <a:gd name="connsiteY25" fmla="*/ 5771 h 526732"/>
                    <a:gd name="connsiteX26" fmla="*/ 177304 w 358139"/>
                    <a:gd name="connsiteY26" fmla="*/ 56 h 526732"/>
                    <a:gd name="connsiteX27" fmla="*/ 257314 w 358139"/>
                    <a:gd name="connsiteY27" fmla="*/ 2913 h 526732"/>
                    <a:gd name="connsiteX28" fmla="*/ 330656 w 358139"/>
                    <a:gd name="connsiteY28" fmla="*/ 11486 h 526732"/>
                    <a:gd name="connsiteX29" fmla="*/ 349706 w 358139"/>
                    <a:gd name="connsiteY29" fmla="*/ 30536 h 526732"/>
                    <a:gd name="connsiteX30" fmla="*/ 349706 w 358139"/>
                    <a:gd name="connsiteY30" fmla="*/ 61016 h 526732"/>
                    <a:gd name="connsiteX31" fmla="*/ 333514 w 358139"/>
                    <a:gd name="connsiteY31" fmla="*/ 77209 h 526732"/>
                    <a:gd name="connsiteX32" fmla="*/ 330656 w 358139"/>
                    <a:gd name="connsiteY32" fmla="*/ 77209 h 526732"/>
                    <a:gd name="connsiteX33" fmla="*/ 263029 w 358139"/>
                    <a:gd name="connsiteY33" fmla="*/ 72446 h 526732"/>
                    <a:gd name="connsiteX34" fmla="*/ 179209 w 358139"/>
                    <a:gd name="connsiteY34" fmla="*/ 69588 h 526732"/>
                    <a:gd name="connsiteX35" fmla="*/ 113486 w 358139"/>
                    <a:gd name="connsiteY35" fmla="*/ 79113 h 526732"/>
                    <a:gd name="connsiteX36" fmla="*/ 88722 w 358139"/>
                    <a:gd name="connsiteY36" fmla="*/ 123881 h 526732"/>
                    <a:gd name="connsiteX37" fmla="*/ 104914 w 358139"/>
                    <a:gd name="connsiteY37" fmla="*/ 161029 h 526732"/>
                    <a:gd name="connsiteX38" fmla="*/ 155397 w 358139"/>
                    <a:gd name="connsiteY38" fmla="*/ 195319 h 526732"/>
                    <a:gd name="connsiteX39" fmla="*/ 252552 w 358139"/>
                    <a:gd name="connsiteY39" fmla="*/ 250564 h 526732"/>
                    <a:gd name="connsiteX40" fmla="*/ 336372 w 358139"/>
                    <a:gd name="connsiteY40" fmla="*/ 317239 h 526732"/>
                    <a:gd name="connsiteX41" fmla="*/ 358279 w 358139"/>
                    <a:gd name="connsiteY41" fmla="*/ 391534 h 526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358139" h="526732">
                      <a:moveTo>
                        <a:pt x="358279" y="391534"/>
                      </a:moveTo>
                      <a:cubicBezTo>
                        <a:pt x="358279" y="439159"/>
                        <a:pt x="341134" y="473448"/>
                        <a:pt x="307797" y="494404"/>
                      </a:cubicBezTo>
                      <a:cubicBezTo>
                        <a:pt x="274459" y="515359"/>
                        <a:pt x="229691" y="526789"/>
                        <a:pt x="175399" y="526789"/>
                      </a:cubicBezTo>
                      <a:cubicBezTo>
                        <a:pt x="165874" y="526789"/>
                        <a:pt x="155397" y="526789"/>
                        <a:pt x="143014" y="526789"/>
                      </a:cubicBezTo>
                      <a:cubicBezTo>
                        <a:pt x="130631" y="526789"/>
                        <a:pt x="117297" y="525836"/>
                        <a:pt x="103009" y="524884"/>
                      </a:cubicBezTo>
                      <a:cubicBezTo>
                        <a:pt x="88722" y="523931"/>
                        <a:pt x="74434" y="522026"/>
                        <a:pt x="60147" y="520121"/>
                      </a:cubicBezTo>
                      <a:cubicBezTo>
                        <a:pt x="45859" y="518216"/>
                        <a:pt x="32524" y="516311"/>
                        <a:pt x="21094" y="513454"/>
                      </a:cubicBezTo>
                      <a:cubicBezTo>
                        <a:pt x="7759" y="510596"/>
                        <a:pt x="139" y="503929"/>
                        <a:pt x="139" y="494404"/>
                      </a:cubicBezTo>
                      <a:lnTo>
                        <a:pt x="139" y="462019"/>
                      </a:lnTo>
                      <a:cubicBezTo>
                        <a:pt x="139" y="457256"/>
                        <a:pt x="2044" y="454398"/>
                        <a:pt x="4902" y="451541"/>
                      </a:cubicBezTo>
                      <a:cubicBezTo>
                        <a:pt x="7759" y="448684"/>
                        <a:pt x="12522" y="447731"/>
                        <a:pt x="17284" y="447731"/>
                      </a:cubicBezTo>
                      <a:lnTo>
                        <a:pt x="21094" y="447731"/>
                      </a:lnTo>
                      <a:cubicBezTo>
                        <a:pt x="32524" y="448684"/>
                        <a:pt x="45859" y="450589"/>
                        <a:pt x="60147" y="451541"/>
                      </a:cubicBezTo>
                      <a:cubicBezTo>
                        <a:pt x="74434" y="452494"/>
                        <a:pt x="88722" y="453446"/>
                        <a:pt x="103009" y="454398"/>
                      </a:cubicBezTo>
                      <a:cubicBezTo>
                        <a:pt x="117297" y="455351"/>
                        <a:pt x="130631" y="456304"/>
                        <a:pt x="143966" y="456304"/>
                      </a:cubicBezTo>
                      <a:cubicBezTo>
                        <a:pt x="156349" y="457256"/>
                        <a:pt x="166827" y="457256"/>
                        <a:pt x="175399" y="457256"/>
                      </a:cubicBezTo>
                      <a:cubicBezTo>
                        <a:pt x="207784" y="457256"/>
                        <a:pt x="231597" y="452494"/>
                        <a:pt x="247789" y="442969"/>
                      </a:cubicBezTo>
                      <a:cubicBezTo>
                        <a:pt x="263981" y="433444"/>
                        <a:pt x="272554" y="416299"/>
                        <a:pt x="272554" y="390581"/>
                      </a:cubicBezTo>
                      <a:cubicBezTo>
                        <a:pt x="272554" y="376294"/>
                        <a:pt x="266839" y="363911"/>
                        <a:pt x="257314" y="353434"/>
                      </a:cubicBezTo>
                      <a:cubicBezTo>
                        <a:pt x="246836" y="342956"/>
                        <a:pt x="227786" y="329621"/>
                        <a:pt x="199211" y="313429"/>
                      </a:cubicBezTo>
                      <a:lnTo>
                        <a:pt x="100152" y="257231"/>
                      </a:lnTo>
                      <a:cubicBezTo>
                        <a:pt x="69672" y="240086"/>
                        <a:pt x="45859" y="221036"/>
                        <a:pt x="27761" y="200081"/>
                      </a:cubicBezTo>
                      <a:cubicBezTo>
                        <a:pt x="9664" y="179126"/>
                        <a:pt x="139" y="154361"/>
                        <a:pt x="139" y="123881"/>
                      </a:cubicBezTo>
                      <a:cubicBezTo>
                        <a:pt x="139" y="100069"/>
                        <a:pt x="4902" y="80066"/>
                        <a:pt x="13474" y="63874"/>
                      </a:cubicBezTo>
                      <a:cubicBezTo>
                        <a:pt x="22999" y="47681"/>
                        <a:pt x="35381" y="35299"/>
                        <a:pt x="50622" y="25774"/>
                      </a:cubicBezTo>
                      <a:cubicBezTo>
                        <a:pt x="65861" y="16249"/>
                        <a:pt x="84911" y="9581"/>
                        <a:pt x="106819" y="5771"/>
                      </a:cubicBezTo>
                      <a:cubicBezTo>
                        <a:pt x="128727" y="1961"/>
                        <a:pt x="151586" y="56"/>
                        <a:pt x="177304" y="56"/>
                      </a:cubicBezTo>
                      <a:cubicBezTo>
                        <a:pt x="204927" y="56"/>
                        <a:pt x="231597" y="1009"/>
                        <a:pt x="257314" y="2913"/>
                      </a:cubicBezTo>
                      <a:cubicBezTo>
                        <a:pt x="283031" y="4819"/>
                        <a:pt x="307797" y="7676"/>
                        <a:pt x="330656" y="11486"/>
                      </a:cubicBezTo>
                      <a:cubicBezTo>
                        <a:pt x="343039" y="13391"/>
                        <a:pt x="349706" y="19106"/>
                        <a:pt x="349706" y="30536"/>
                      </a:cubicBezTo>
                      <a:lnTo>
                        <a:pt x="349706" y="61016"/>
                      </a:lnTo>
                      <a:cubicBezTo>
                        <a:pt x="349706" y="71494"/>
                        <a:pt x="343991" y="77209"/>
                        <a:pt x="333514" y="77209"/>
                      </a:cubicBezTo>
                      <a:lnTo>
                        <a:pt x="330656" y="77209"/>
                      </a:lnTo>
                      <a:cubicBezTo>
                        <a:pt x="313511" y="76256"/>
                        <a:pt x="290652" y="74351"/>
                        <a:pt x="263029" y="72446"/>
                      </a:cubicBezTo>
                      <a:cubicBezTo>
                        <a:pt x="234454" y="70541"/>
                        <a:pt x="206831" y="69588"/>
                        <a:pt x="179209" y="69588"/>
                      </a:cubicBezTo>
                      <a:cubicBezTo>
                        <a:pt x="151586" y="69588"/>
                        <a:pt x="129679" y="72446"/>
                        <a:pt x="113486" y="79113"/>
                      </a:cubicBezTo>
                      <a:cubicBezTo>
                        <a:pt x="97294" y="85781"/>
                        <a:pt x="88722" y="100069"/>
                        <a:pt x="88722" y="123881"/>
                      </a:cubicBezTo>
                      <a:cubicBezTo>
                        <a:pt x="88722" y="138169"/>
                        <a:pt x="94436" y="150551"/>
                        <a:pt x="104914" y="161029"/>
                      </a:cubicBezTo>
                      <a:cubicBezTo>
                        <a:pt x="116344" y="171506"/>
                        <a:pt x="132536" y="182936"/>
                        <a:pt x="155397" y="195319"/>
                      </a:cubicBezTo>
                      <a:lnTo>
                        <a:pt x="252552" y="250564"/>
                      </a:lnTo>
                      <a:cubicBezTo>
                        <a:pt x="292556" y="273424"/>
                        <a:pt x="321131" y="296284"/>
                        <a:pt x="336372" y="317239"/>
                      </a:cubicBezTo>
                      <a:cubicBezTo>
                        <a:pt x="350659" y="340099"/>
                        <a:pt x="358279" y="363911"/>
                        <a:pt x="358279" y="3915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2677D87-E358-4CDC-B9DD-FF5F56DCFAB7}"/>
                  </a:ext>
                </a:extLst>
              </p:cNvPr>
              <p:cNvSpPr/>
              <p:nvPr/>
            </p:nvSpPr>
            <p:spPr>
              <a:xfrm>
                <a:off x="5251132" y="3874769"/>
                <a:ext cx="398145" cy="74294"/>
              </a:xfrm>
              <a:custGeom>
                <a:avLst/>
                <a:gdLst>
                  <a:gd name="connsiteX0" fmla="*/ 0 w 398145"/>
                  <a:gd name="connsiteY0" fmla="*/ 56 h 74294"/>
                  <a:gd name="connsiteX1" fmla="*/ 398145 w 398145"/>
                  <a:gd name="connsiteY1" fmla="*/ 56 h 74294"/>
                  <a:gd name="connsiteX2" fmla="*/ 398145 w 398145"/>
                  <a:gd name="connsiteY2" fmla="*/ 74351 h 74294"/>
                  <a:gd name="connsiteX3" fmla="*/ 0 w 398145"/>
                  <a:gd name="connsiteY3" fmla="*/ 7435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145" h="74294">
                    <a:moveTo>
                      <a:pt x="0" y="56"/>
                    </a:moveTo>
                    <a:lnTo>
                      <a:pt x="398145" y="56"/>
                    </a:lnTo>
                    <a:lnTo>
                      <a:pt x="398145" y="74351"/>
                    </a:lnTo>
                    <a:lnTo>
                      <a:pt x="0" y="743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3FCEA8E-EE99-4494-9DD0-0CA94B0BE3A3}"/>
                  </a:ext>
                </a:extLst>
              </p:cNvPr>
              <p:cNvSpPr/>
              <p:nvPr/>
            </p:nvSpPr>
            <p:spPr>
              <a:xfrm>
                <a:off x="5269093" y="3247072"/>
                <a:ext cx="410663" cy="701992"/>
              </a:xfrm>
              <a:custGeom>
                <a:avLst/>
                <a:gdLst>
                  <a:gd name="connsiteX0" fmla="*/ 51571 w 410663"/>
                  <a:gd name="connsiteY0" fmla="*/ 40061 h 701992"/>
                  <a:gd name="connsiteX1" fmla="*/ 217306 w 410663"/>
                  <a:gd name="connsiteY1" fmla="*/ 56 h 701992"/>
                  <a:gd name="connsiteX2" fmla="*/ 303031 w 410663"/>
                  <a:gd name="connsiteY2" fmla="*/ 4818 h 701992"/>
                  <a:gd name="connsiteX3" fmla="*/ 382089 w 410663"/>
                  <a:gd name="connsiteY3" fmla="*/ 19106 h 701992"/>
                  <a:gd name="connsiteX4" fmla="*/ 394471 w 410663"/>
                  <a:gd name="connsiteY4" fmla="*/ 24821 h 701992"/>
                  <a:gd name="connsiteX5" fmla="*/ 399234 w 410663"/>
                  <a:gd name="connsiteY5" fmla="*/ 36251 h 701992"/>
                  <a:gd name="connsiteX6" fmla="*/ 399234 w 410663"/>
                  <a:gd name="connsiteY6" fmla="*/ 69589 h 701992"/>
                  <a:gd name="connsiteX7" fmla="*/ 384946 w 410663"/>
                  <a:gd name="connsiteY7" fmla="*/ 86734 h 701992"/>
                  <a:gd name="connsiteX8" fmla="*/ 381136 w 410663"/>
                  <a:gd name="connsiteY8" fmla="*/ 86734 h 701992"/>
                  <a:gd name="connsiteX9" fmla="*/ 298269 w 410663"/>
                  <a:gd name="connsiteY9" fmla="*/ 77209 h 701992"/>
                  <a:gd name="connsiteX10" fmla="*/ 218259 w 410663"/>
                  <a:gd name="connsiteY10" fmla="*/ 73399 h 701992"/>
                  <a:gd name="connsiteX11" fmla="*/ 111579 w 410663"/>
                  <a:gd name="connsiteY11" fmla="*/ 96259 h 701992"/>
                  <a:gd name="connsiteX12" fmla="*/ 80146 w 410663"/>
                  <a:gd name="connsiteY12" fmla="*/ 169601 h 701992"/>
                  <a:gd name="connsiteX13" fmla="*/ 83956 w 410663"/>
                  <a:gd name="connsiteY13" fmla="*/ 205796 h 701992"/>
                  <a:gd name="connsiteX14" fmla="*/ 99196 w 410663"/>
                  <a:gd name="connsiteY14" fmla="*/ 236276 h 701992"/>
                  <a:gd name="connsiteX15" fmla="*/ 128724 w 410663"/>
                  <a:gd name="connsiteY15" fmla="*/ 265804 h 701992"/>
                  <a:gd name="connsiteX16" fmla="*/ 176349 w 410663"/>
                  <a:gd name="connsiteY16" fmla="*/ 300094 h 701992"/>
                  <a:gd name="connsiteX17" fmla="*/ 269694 w 410663"/>
                  <a:gd name="connsiteY17" fmla="*/ 363911 h 701992"/>
                  <a:gd name="connsiteX18" fmla="*/ 378279 w 410663"/>
                  <a:gd name="connsiteY18" fmla="*/ 476306 h 701992"/>
                  <a:gd name="connsiteX19" fmla="*/ 410664 w 410663"/>
                  <a:gd name="connsiteY19" fmla="*/ 609656 h 701992"/>
                  <a:gd name="connsiteX20" fmla="*/ 410664 w 410663"/>
                  <a:gd name="connsiteY20" fmla="*/ 684904 h 701992"/>
                  <a:gd name="connsiteX21" fmla="*/ 404949 w 410663"/>
                  <a:gd name="connsiteY21" fmla="*/ 697286 h 701992"/>
                  <a:gd name="connsiteX22" fmla="*/ 392566 w 410663"/>
                  <a:gd name="connsiteY22" fmla="*/ 702049 h 701992"/>
                  <a:gd name="connsiteX23" fmla="*/ 26806 w 410663"/>
                  <a:gd name="connsiteY23" fmla="*/ 702049 h 701992"/>
                  <a:gd name="connsiteX24" fmla="*/ 13471 w 410663"/>
                  <a:gd name="connsiteY24" fmla="*/ 697286 h 701992"/>
                  <a:gd name="connsiteX25" fmla="*/ 7756 w 410663"/>
                  <a:gd name="connsiteY25" fmla="*/ 684904 h 701992"/>
                  <a:gd name="connsiteX26" fmla="*/ 7756 w 410663"/>
                  <a:gd name="connsiteY26" fmla="*/ 643946 h 701992"/>
                  <a:gd name="connsiteX27" fmla="*/ 13471 w 410663"/>
                  <a:gd name="connsiteY27" fmla="*/ 632516 h 701992"/>
                  <a:gd name="connsiteX28" fmla="*/ 26806 w 410663"/>
                  <a:gd name="connsiteY28" fmla="*/ 628706 h 701992"/>
                  <a:gd name="connsiteX29" fmla="*/ 337321 w 410663"/>
                  <a:gd name="connsiteY29" fmla="*/ 628706 h 701992"/>
                  <a:gd name="connsiteX30" fmla="*/ 337321 w 410663"/>
                  <a:gd name="connsiteY30" fmla="*/ 608704 h 701992"/>
                  <a:gd name="connsiteX31" fmla="*/ 331606 w 410663"/>
                  <a:gd name="connsiteY31" fmla="*/ 553459 h 701992"/>
                  <a:gd name="connsiteX32" fmla="*/ 311604 w 410663"/>
                  <a:gd name="connsiteY32" fmla="*/ 504881 h 701992"/>
                  <a:gd name="connsiteX33" fmla="*/ 272551 w 410663"/>
                  <a:gd name="connsiteY33" fmla="*/ 458209 h 701992"/>
                  <a:gd name="connsiteX34" fmla="*/ 208734 w 410663"/>
                  <a:gd name="connsiteY34" fmla="*/ 408679 h 701992"/>
                  <a:gd name="connsiteX35" fmla="*/ 120151 w 410663"/>
                  <a:gd name="connsiteY35" fmla="*/ 347719 h 701992"/>
                  <a:gd name="connsiteX36" fmla="*/ 27759 w 410663"/>
                  <a:gd name="connsiteY36" fmla="*/ 262946 h 701992"/>
                  <a:gd name="connsiteX37" fmla="*/ 136 w 410663"/>
                  <a:gd name="connsiteY37" fmla="*/ 166744 h 701992"/>
                  <a:gd name="connsiteX38" fmla="*/ 51571 w 410663"/>
                  <a:gd name="connsiteY38" fmla="*/ 40061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10663" h="701992">
                    <a:moveTo>
                      <a:pt x="51571" y="40061"/>
                    </a:moveTo>
                    <a:cubicBezTo>
                      <a:pt x="86814" y="13391"/>
                      <a:pt x="143011" y="56"/>
                      <a:pt x="217306" y="56"/>
                    </a:cubicBezTo>
                    <a:cubicBezTo>
                      <a:pt x="244929" y="56"/>
                      <a:pt x="273504" y="1961"/>
                      <a:pt x="303031" y="4818"/>
                    </a:cubicBezTo>
                    <a:cubicBezTo>
                      <a:pt x="332559" y="7676"/>
                      <a:pt x="358276" y="12439"/>
                      <a:pt x="382089" y="19106"/>
                    </a:cubicBezTo>
                    <a:cubicBezTo>
                      <a:pt x="386851" y="20059"/>
                      <a:pt x="391614" y="21964"/>
                      <a:pt x="394471" y="24821"/>
                    </a:cubicBezTo>
                    <a:cubicBezTo>
                      <a:pt x="398281" y="27679"/>
                      <a:pt x="399234" y="31489"/>
                      <a:pt x="399234" y="36251"/>
                    </a:cubicBezTo>
                    <a:lnTo>
                      <a:pt x="399234" y="69589"/>
                    </a:lnTo>
                    <a:cubicBezTo>
                      <a:pt x="399234" y="81019"/>
                      <a:pt x="394471" y="86734"/>
                      <a:pt x="384946" y="86734"/>
                    </a:cubicBezTo>
                    <a:lnTo>
                      <a:pt x="381136" y="86734"/>
                    </a:lnTo>
                    <a:cubicBezTo>
                      <a:pt x="355419" y="82924"/>
                      <a:pt x="327796" y="80066"/>
                      <a:pt x="298269" y="77209"/>
                    </a:cubicBezTo>
                    <a:cubicBezTo>
                      <a:pt x="268741" y="74351"/>
                      <a:pt x="242071" y="73399"/>
                      <a:pt x="218259" y="73399"/>
                    </a:cubicBezTo>
                    <a:cubicBezTo>
                      <a:pt x="168729" y="73399"/>
                      <a:pt x="132534" y="81019"/>
                      <a:pt x="111579" y="96259"/>
                    </a:cubicBezTo>
                    <a:cubicBezTo>
                      <a:pt x="90624" y="111499"/>
                      <a:pt x="80146" y="136264"/>
                      <a:pt x="80146" y="169601"/>
                    </a:cubicBezTo>
                    <a:cubicBezTo>
                      <a:pt x="80146" y="182936"/>
                      <a:pt x="81099" y="195319"/>
                      <a:pt x="83956" y="205796"/>
                    </a:cubicBezTo>
                    <a:cubicBezTo>
                      <a:pt x="86814" y="216274"/>
                      <a:pt x="91576" y="226751"/>
                      <a:pt x="99196" y="236276"/>
                    </a:cubicBezTo>
                    <a:cubicBezTo>
                      <a:pt x="105864" y="245801"/>
                      <a:pt x="116341" y="255326"/>
                      <a:pt x="128724" y="265804"/>
                    </a:cubicBezTo>
                    <a:cubicBezTo>
                      <a:pt x="141106" y="275329"/>
                      <a:pt x="156346" y="287711"/>
                      <a:pt x="176349" y="300094"/>
                    </a:cubicBezTo>
                    <a:lnTo>
                      <a:pt x="269694" y="363911"/>
                    </a:lnTo>
                    <a:cubicBezTo>
                      <a:pt x="320176" y="398201"/>
                      <a:pt x="356371" y="435349"/>
                      <a:pt x="378279" y="476306"/>
                    </a:cubicBezTo>
                    <a:cubicBezTo>
                      <a:pt x="400186" y="516311"/>
                      <a:pt x="410664" y="561079"/>
                      <a:pt x="410664" y="609656"/>
                    </a:cubicBezTo>
                    <a:lnTo>
                      <a:pt x="410664" y="684904"/>
                    </a:lnTo>
                    <a:cubicBezTo>
                      <a:pt x="410664" y="689666"/>
                      <a:pt x="408759" y="694429"/>
                      <a:pt x="404949" y="697286"/>
                    </a:cubicBezTo>
                    <a:cubicBezTo>
                      <a:pt x="401139" y="701096"/>
                      <a:pt x="397329" y="702049"/>
                      <a:pt x="392566" y="702049"/>
                    </a:cubicBezTo>
                    <a:lnTo>
                      <a:pt x="26806" y="702049"/>
                    </a:lnTo>
                    <a:cubicBezTo>
                      <a:pt x="22044" y="702049"/>
                      <a:pt x="17281" y="700144"/>
                      <a:pt x="13471" y="697286"/>
                    </a:cubicBezTo>
                    <a:cubicBezTo>
                      <a:pt x="9661" y="694429"/>
                      <a:pt x="7756" y="689666"/>
                      <a:pt x="7756" y="684904"/>
                    </a:cubicBezTo>
                    <a:lnTo>
                      <a:pt x="7756" y="643946"/>
                    </a:lnTo>
                    <a:cubicBezTo>
                      <a:pt x="7756" y="639184"/>
                      <a:pt x="9661" y="635374"/>
                      <a:pt x="13471" y="632516"/>
                    </a:cubicBezTo>
                    <a:cubicBezTo>
                      <a:pt x="17281" y="629659"/>
                      <a:pt x="21091" y="628706"/>
                      <a:pt x="26806" y="628706"/>
                    </a:cubicBezTo>
                    <a:lnTo>
                      <a:pt x="337321" y="628706"/>
                    </a:lnTo>
                    <a:lnTo>
                      <a:pt x="337321" y="608704"/>
                    </a:lnTo>
                    <a:cubicBezTo>
                      <a:pt x="337321" y="587749"/>
                      <a:pt x="335416" y="569651"/>
                      <a:pt x="331606" y="553459"/>
                    </a:cubicBezTo>
                    <a:cubicBezTo>
                      <a:pt x="327796" y="537266"/>
                      <a:pt x="321129" y="521074"/>
                      <a:pt x="311604" y="504881"/>
                    </a:cubicBezTo>
                    <a:cubicBezTo>
                      <a:pt x="302079" y="489641"/>
                      <a:pt x="288744" y="473449"/>
                      <a:pt x="272551" y="458209"/>
                    </a:cubicBezTo>
                    <a:cubicBezTo>
                      <a:pt x="256359" y="442969"/>
                      <a:pt x="234451" y="426776"/>
                      <a:pt x="208734" y="408679"/>
                    </a:cubicBezTo>
                    <a:lnTo>
                      <a:pt x="120151" y="347719"/>
                    </a:lnTo>
                    <a:cubicBezTo>
                      <a:pt x="77289" y="318191"/>
                      <a:pt x="45856" y="290569"/>
                      <a:pt x="27759" y="262946"/>
                    </a:cubicBezTo>
                    <a:cubicBezTo>
                      <a:pt x="9661" y="236276"/>
                      <a:pt x="136" y="203891"/>
                      <a:pt x="136" y="166744"/>
                    </a:cubicBezTo>
                    <a:cubicBezTo>
                      <a:pt x="-1769" y="109594"/>
                      <a:pt x="16329" y="66731"/>
                      <a:pt x="51571" y="400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1A1F6B87-4250-481E-8340-70F4030560FF}"/>
                </a:ext>
              </a:extLst>
            </p:cNvPr>
            <p:cNvSpPr/>
            <p:nvPr/>
          </p:nvSpPr>
          <p:spPr>
            <a:xfrm>
              <a:off x="765963" y="4686300"/>
              <a:ext cx="3334550" cy="464148"/>
            </a:xfrm>
            <a:prstGeom prst="roundRect">
              <a:avLst>
                <a:gd name="adj" fmla="val 50000"/>
              </a:avLst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i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amet</a:t>
              </a:r>
              <a:endParaRPr lang="en-US" i="1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1490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EBFCDF-1EAB-4F3B-AEFA-166C1F2CDD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39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 descr="Shape, sunburst chart&#10;&#10;Description automatically generated">
            <a:extLst>
              <a:ext uri="{FF2B5EF4-FFF2-40B4-BE49-F238E27FC236}">
                <a16:creationId xmlns:a16="http://schemas.microsoft.com/office/drawing/2014/main" id="{EE91933D-687D-4485-A7BD-6C1FC96171C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27" b="26826"/>
          <a:stretch/>
        </p:blipFill>
        <p:spPr>
          <a:xfrm>
            <a:off x="9181170" y="1179286"/>
            <a:ext cx="3010829" cy="5018300"/>
          </a:xfrm>
          <a:prstGeom prst="rect">
            <a:avLst/>
          </a:prstGeom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0D0ABB-1E6E-482C-9E07-6AC1CD45E043}"/>
              </a:ext>
            </a:extLst>
          </p:cNvPr>
          <p:cNvSpPr/>
          <p:nvPr/>
        </p:nvSpPr>
        <p:spPr>
          <a:xfrm>
            <a:off x="7677627" y="1179286"/>
            <a:ext cx="1211607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AD6F9D4-1418-46EC-B242-9E64BBADA2BF}"/>
              </a:ext>
            </a:extLst>
          </p:cNvPr>
          <p:cNvSpPr/>
          <p:nvPr/>
        </p:nvSpPr>
        <p:spPr>
          <a:xfrm>
            <a:off x="659385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4786DBC-8456-456B-BD72-F21779D17B7D}"/>
              </a:ext>
            </a:extLst>
          </p:cNvPr>
          <p:cNvSpPr/>
          <p:nvPr/>
        </p:nvSpPr>
        <p:spPr>
          <a:xfrm>
            <a:off x="5510090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92FBB3-F4CD-4626-816C-666D5C098B53}"/>
              </a:ext>
            </a:extLst>
          </p:cNvPr>
          <p:cNvSpPr/>
          <p:nvPr/>
        </p:nvSpPr>
        <p:spPr>
          <a:xfrm>
            <a:off x="4426322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44847F0-049E-4904-A290-08ED3D4A8084}"/>
              </a:ext>
            </a:extLst>
          </p:cNvPr>
          <p:cNvSpPr/>
          <p:nvPr/>
        </p:nvSpPr>
        <p:spPr>
          <a:xfrm>
            <a:off x="3342554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B679DDA-EF9A-4986-B3DD-059E5FCE629A}"/>
              </a:ext>
            </a:extLst>
          </p:cNvPr>
          <p:cNvSpPr/>
          <p:nvPr/>
        </p:nvSpPr>
        <p:spPr>
          <a:xfrm>
            <a:off x="2258786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47DE79F-139A-4A5A-9825-C09C9D3AAE85}"/>
              </a:ext>
            </a:extLst>
          </p:cNvPr>
          <p:cNvSpPr/>
          <p:nvPr/>
        </p:nvSpPr>
        <p:spPr>
          <a:xfrm>
            <a:off x="117501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24866A-57DD-471A-B4C4-CAE04BB44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158F61-8747-4E84-ACD8-A50B0BCA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0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68B8A7-3185-4B67-9A33-6B73E6746DB0}"/>
              </a:ext>
            </a:extLst>
          </p:cNvPr>
          <p:cNvSpPr/>
          <p:nvPr/>
        </p:nvSpPr>
        <p:spPr>
          <a:xfrm>
            <a:off x="9173030" y="1179286"/>
            <a:ext cx="3018970" cy="5018312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6C6FC1A8-A373-48C0-8037-5B2D82B966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4470822"/>
              </p:ext>
            </p:extLst>
          </p:nvPr>
        </p:nvGraphicFramePr>
        <p:xfrm>
          <a:off x="9448800" y="1552575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6" name="Content Placeholder 14">
            <a:extLst>
              <a:ext uri="{FF2B5EF4-FFF2-40B4-BE49-F238E27FC236}">
                <a16:creationId xmlns:a16="http://schemas.microsoft.com/office/drawing/2014/main" id="{1C2F5A81-2D13-45AB-8D9C-ED7184E6DC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671893"/>
              </p:ext>
            </p:extLst>
          </p:nvPr>
        </p:nvGraphicFramePr>
        <p:xfrm>
          <a:off x="9448800" y="3990974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3AE2632-F125-403F-8288-E0C9BB695ABC}"/>
              </a:ext>
            </a:extLst>
          </p:cNvPr>
          <p:cNvSpPr/>
          <p:nvPr/>
        </p:nvSpPr>
        <p:spPr>
          <a:xfrm rot="16200000">
            <a:off x="-290609" y="245259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582DA84-B5A5-40CB-8F6A-640F4B4C5611}"/>
              </a:ext>
            </a:extLst>
          </p:cNvPr>
          <p:cNvSpPr/>
          <p:nvPr/>
        </p:nvSpPr>
        <p:spPr>
          <a:xfrm rot="16200000">
            <a:off x="-290609" y="473195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676008-722B-4972-A8B0-5D8273C72E9B}"/>
              </a:ext>
            </a:extLst>
          </p:cNvPr>
          <p:cNvCxnSpPr>
            <a:cxnSpLocks/>
          </p:cNvCxnSpPr>
          <p:nvPr/>
        </p:nvCxnSpPr>
        <p:spPr>
          <a:xfrm>
            <a:off x="1285875" y="3797300"/>
            <a:ext cx="10182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814CB52B-FE69-4A00-86EC-C48A7A45DA5F}"/>
              </a:ext>
            </a:extLst>
          </p:cNvPr>
          <p:cNvSpPr/>
          <p:nvPr/>
        </p:nvSpPr>
        <p:spPr>
          <a:xfrm>
            <a:off x="1269165" y="175039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DBF46261-CB1C-4A72-81D9-398D922FB459}"/>
              </a:ext>
            </a:extLst>
          </p:cNvPr>
          <p:cNvSpPr/>
          <p:nvPr/>
        </p:nvSpPr>
        <p:spPr>
          <a:xfrm>
            <a:off x="2279039" y="223553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D31AE9E5-092E-4C2A-9A3B-B625BC301C2D}"/>
              </a:ext>
            </a:extLst>
          </p:cNvPr>
          <p:cNvSpPr/>
          <p:nvPr/>
        </p:nvSpPr>
        <p:spPr>
          <a:xfrm>
            <a:off x="1518872" y="2720674"/>
            <a:ext cx="519018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32706300-74C2-4933-AD85-42EFBFF2A4AF}"/>
              </a:ext>
            </a:extLst>
          </p:cNvPr>
          <p:cNvSpPr/>
          <p:nvPr/>
        </p:nvSpPr>
        <p:spPr>
          <a:xfrm>
            <a:off x="5591106" y="3205814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066B995-271A-48C0-86BD-DC826154ED59}"/>
              </a:ext>
            </a:extLst>
          </p:cNvPr>
          <p:cNvSpPr/>
          <p:nvPr/>
        </p:nvSpPr>
        <p:spPr>
          <a:xfrm>
            <a:off x="2279039" y="412246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5D195DAD-CCDD-4192-BB1D-8E6E2FF23FB7}"/>
              </a:ext>
            </a:extLst>
          </p:cNvPr>
          <p:cNvSpPr/>
          <p:nvPr/>
        </p:nvSpPr>
        <p:spPr>
          <a:xfrm>
            <a:off x="1277306" y="460760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19137ACB-8492-4B9E-9858-B010C38C6CCB}"/>
              </a:ext>
            </a:extLst>
          </p:cNvPr>
          <p:cNvSpPr/>
          <p:nvPr/>
        </p:nvSpPr>
        <p:spPr>
          <a:xfrm>
            <a:off x="3942040" y="5092745"/>
            <a:ext cx="4961132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C5C0E708-F541-403C-A72D-6C248F2501DC}"/>
              </a:ext>
            </a:extLst>
          </p:cNvPr>
          <p:cNvSpPr/>
          <p:nvPr/>
        </p:nvSpPr>
        <p:spPr>
          <a:xfrm>
            <a:off x="3942040" y="5577885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83184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EB937C-5575-4028-8BA4-A0E848381F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01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BC6EA-37E5-47D0-8CF2-1EA19EBE4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</p:spPr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D0D16-7926-444F-90A5-FB919A1DE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1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B1480C7-A361-46C9-81DD-A92DEB2388D9}"/>
              </a:ext>
            </a:extLst>
          </p:cNvPr>
          <p:cNvSpPr/>
          <p:nvPr/>
        </p:nvSpPr>
        <p:spPr>
          <a:xfrm>
            <a:off x="1231899" y="3116943"/>
            <a:ext cx="10395857" cy="624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7E79A48-3B26-4FB1-AC28-F4AA440D5507}"/>
              </a:ext>
            </a:extLst>
          </p:cNvPr>
          <p:cNvSpPr/>
          <p:nvPr/>
        </p:nvSpPr>
        <p:spPr>
          <a:xfrm rot="16200000">
            <a:off x="415661" y="3882021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B40F73-7ED9-46C0-BE1D-8F2080081958}"/>
              </a:ext>
            </a:extLst>
          </p:cNvPr>
          <p:cNvSpPr/>
          <p:nvPr/>
        </p:nvSpPr>
        <p:spPr>
          <a:xfrm rot="16200000">
            <a:off x="415660" y="470055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2CE002-A512-47C3-AF87-D2496E09182A}"/>
              </a:ext>
            </a:extLst>
          </p:cNvPr>
          <p:cNvSpPr/>
          <p:nvPr/>
        </p:nvSpPr>
        <p:spPr>
          <a:xfrm rot="16200000">
            <a:off x="415661" y="551908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1386F0-611C-48EC-B574-EDB2FCF29FD5}"/>
              </a:ext>
            </a:extLst>
          </p:cNvPr>
          <p:cNvCxnSpPr>
            <a:cxnSpLocks/>
          </p:cNvCxnSpPr>
          <p:nvPr/>
        </p:nvCxnSpPr>
        <p:spPr>
          <a:xfrm>
            <a:off x="1460500" y="3429000"/>
            <a:ext cx="9994900" cy="0"/>
          </a:xfrm>
          <a:prstGeom prst="line">
            <a:avLst/>
          </a:prstGeom>
          <a:ln>
            <a:solidFill>
              <a:srgbClr val="5E5E5E"/>
            </a:solidFill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8A3D213F-7795-4ABC-AF3A-AFFA8BB44026}"/>
              </a:ext>
            </a:extLst>
          </p:cNvPr>
          <p:cNvSpPr/>
          <p:nvPr/>
        </p:nvSpPr>
        <p:spPr>
          <a:xfrm>
            <a:off x="14129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EC5D8CA-CD6C-423A-A2FB-DC953DC61DFD}"/>
              </a:ext>
            </a:extLst>
          </p:cNvPr>
          <p:cNvSpPr/>
          <p:nvPr/>
        </p:nvSpPr>
        <p:spPr>
          <a:xfrm>
            <a:off x="28797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2C7A665-78ED-4A1E-AAC1-2A0DA4803544}"/>
              </a:ext>
            </a:extLst>
          </p:cNvPr>
          <p:cNvSpPr/>
          <p:nvPr/>
        </p:nvSpPr>
        <p:spPr>
          <a:xfrm>
            <a:off x="46133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9BB00E4-0CE4-4D4C-8AE2-4DFF93F21002}"/>
              </a:ext>
            </a:extLst>
          </p:cNvPr>
          <p:cNvSpPr/>
          <p:nvPr/>
        </p:nvSpPr>
        <p:spPr>
          <a:xfrm>
            <a:off x="63468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D533CCD-177C-4BE3-8388-65497089CD91}"/>
              </a:ext>
            </a:extLst>
          </p:cNvPr>
          <p:cNvSpPr/>
          <p:nvPr/>
        </p:nvSpPr>
        <p:spPr>
          <a:xfrm>
            <a:off x="807660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39D6932-BF83-4D6B-BC90-1BF60CEEB8D4}"/>
              </a:ext>
            </a:extLst>
          </p:cNvPr>
          <p:cNvSpPr/>
          <p:nvPr/>
        </p:nvSpPr>
        <p:spPr>
          <a:xfrm>
            <a:off x="979872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BB10E2-563C-406D-8ED3-FCE7FFA45260}"/>
              </a:ext>
            </a:extLst>
          </p:cNvPr>
          <p:cNvSpPr/>
          <p:nvPr/>
        </p:nvSpPr>
        <p:spPr>
          <a:xfrm>
            <a:off x="564244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0BD20B3-BEF8-42D2-9B25-9BE707677199}"/>
              </a:ext>
            </a:extLst>
          </p:cNvPr>
          <p:cNvSpPr/>
          <p:nvPr/>
        </p:nvSpPr>
        <p:spPr>
          <a:xfrm>
            <a:off x="564244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E666F79-7470-4704-8D04-04628A1BC152}"/>
              </a:ext>
            </a:extLst>
          </p:cNvPr>
          <p:cNvSpPr/>
          <p:nvPr/>
        </p:nvSpPr>
        <p:spPr>
          <a:xfrm>
            <a:off x="2182719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343B91F-1F26-41A5-A27D-AE92ED8363C3}"/>
              </a:ext>
            </a:extLst>
          </p:cNvPr>
          <p:cNvSpPr/>
          <p:nvPr/>
        </p:nvSpPr>
        <p:spPr>
          <a:xfrm>
            <a:off x="2182719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006060F9-BE37-4BA7-8B57-18727CE88E7F}"/>
              </a:ext>
            </a:extLst>
          </p:cNvPr>
          <p:cNvSpPr/>
          <p:nvPr/>
        </p:nvSpPr>
        <p:spPr>
          <a:xfrm>
            <a:off x="3915360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040B734-FDB0-4109-B8B1-246DB5C5B7C1}"/>
              </a:ext>
            </a:extLst>
          </p:cNvPr>
          <p:cNvSpPr/>
          <p:nvPr/>
        </p:nvSpPr>
        <p:spPr>
          <a:xfrm>
            <a:off x="3915360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EDC2568-9FA0-4FD1-822F-0813A4C0438D}"/>
              </a:ext>
            </a:extLst>
          </p:cNvPr>
          <p:cNvSpPr/>
          <p:nvPr/>
        </p:nvSpPr>
        <p:spPr>
          <a:xfrm>
            <a:off x="5648001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8025369-0D68-455B-9F0F-53E453E5E58B}"/>
              </a:ext>
            </a:extLst>
          </p:cNvPr>
          <p:cNvSpPr/>
          <p:nvPr/>
        </p:nvSpPr>
        <p:spPr>
          <a:xfrm>
            <a:off x="5648001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2D48519-70C2-4F51-930B-75065D340969}"/>
              </a:ext>
            </a:extLst>
          </p:cNvPr>
          <p:cNvSpPr/>
          <p:nvPr/>
        </p:nvSpPr>
        <p:spPr>
          <a:xfrm>
            <a:off x="7368832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8C229A7-2E5D-4D9E-A29E-DE9518E110E4}"/>
              </a:ext>
            </a:extLst>
          </p:cNvPr>
          <p:cNvSpPr/>
          <p:nvPr/>
        </p:nvSpPr>
        <p:spPr>
          <a:xfrm>
            <a:off x="7368832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DA9EAA1-03BF-47E5-956F-DB80472B88C5}"/>
              </a:ext>
            </a:extLst>
          </p:cNvPr>
          <p:cNvSpPr/>
          <p:nvPr/>
        </p:nvSpPr>
        <p:spPr>
          <a:xfrm>
            <a:off x="9101473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7648FB2-67D3-4095-9B0A-320F166296C5}"/>
              </a:ext>
            </a:extLst>
          </p:cNvPr>
          <p:cNvSpPr/>
          <p:nvPr/>
        </p:nvSpPr>
        <p:spPr>
          <a:xfrm>
            <a:off x="9101473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E9B1B2-B2C6-4331-B1B8-0636D3185973}"/>
              </a:ext>
            </a:extLst>
          </p:cNvPr>
          <p:cNvGrpSpPr/>
          <p:nvPr/>
        </p:nvGrpSpPr>
        <p:grpSpPr>
          <a:xfrm>
            <a:off x="1495135" y="3009900"/>
            <a:ext cx="8399979" cy="419099"/>
            <a:chOff x="1495135" y="-628650"/>
            <a:chExt cx="8399979" cy="733425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B3A12DE-A8C2-4DAE-8347-B40492C82138}"/>
                </a:ext>
              </a:extLst>
            </p:cNvPr>
            <p:cNvCxnSpPr>
              <a:cxnSpLocks/>
            </p:cNvCxnSpPr>
            <p:nvPr/>
          </p:nvCxnSpPr>
          <p:spPr>
            <a:xfrm>
              <a:off x="149513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EEF153D-B4C3-403E-973E-55EFCE3A676E}"/>
                </a:ext>
              </a:extLst>
            </p:cNvPr>
            <p:cNvCxnSpPr>
              <a:cxnSpLocks/>
            </p:cNvCxnSpPr>
            <p:nvPr/>
          </p:nvCxnSpPr>
          <p:spPr>
            <a:xfrm>
              <a:off x="2964542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052E00E-0DEF-4FDD-AF59-84231ACA2AB4}"/>
                </a:ext>
              </a:extLst>
            </p:cNvPr>
            <p:cNvCxnSpPr>
              <a:cxnSpLocks/>
            </p:cNvCxnSpPr>
            <p:nvPr/>
          </p:nvCxnSpPr>
          <p:spPr>
            <a:xfrm>
              <a:off x="469718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CA9221-A133-44DF-ACBE-E5BACB251B37}"/>
                </a:ext>
              </a:extLst>
            </p:cNvPr>
            <p:cNvCxnSpPr>
              <a:cxnSpLocks/>
            </p:cNvCxnSpPr>
            <p:nvPr/>
          </p:nvCxnSpPr>
          <p:spPr>
            <a:xfrm>
              <a:off x="6429828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1A350A2-465F-47FC-8488-6DC88F549BD4}"/>
                </a:ext>
              </a:extLst>
            </p:cNvPr>
            <p:cNvCxnSpPr>
              <a:cxnSpLocks/>
            </p:cNvCxnSpPr>
            <p:nvPr/>
          </p:nvCxnSpPr>
          <p:spPr>
            <a:xfrm>
              <a:off x="8162471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D2B1399-A13D-41B5-8B70-5141C5AD45AB}"/>
                </a:ext>
              </a:extLst>
            </p:cNvPr>
            <p:cNvCxnSpPr>
              <a:cxnSpLocks/>
            </p:cNvCxnSpPr>
            <p:nvPr/>
          </p:nvCxnSpPr>
          <p:spPr>
            <a:xfrm>
              <a:off x="9895114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668A8609-C403-4FB9-B782-431336782539}"/>
              </a:ext>
            </a:extLst>
          </p:cNvPr>
          <p:cNvSpPr/>
          <p:nvPr/>
        </p:nvSpPr>
        <p:spPr>
          <a:xfrm>
            <a:off x="2879763" y="3976539"/>
            <a:ext cx="19160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92394D76-3F5C-431B-A2A9-0A97492C728C}"/>
              </a:ext>
            </a:extLst>
          </p:cNvPr>
          <p:cNvSpPr/>
          <p:nvPr/>
        </p:nvSpPr>
        <p:spPr>
          <a:xfrm>
            <a:off x="1412914" y="3976539"/>
            <a:ext cx="16493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E7185BA1-B683-4EE1-B3A2-A65FB8A79F73}"/>
              </a:ext>
            </a:extLst>
          </p:cNvPr>
          <p:cNvSpPr/>
          <p:nvPr/>
        </p:nvSpPr>
        <p:spPr>
          <a:xfrm>
            <a:off x="7683500" y="4890939"/>
            <a:ext cx="17907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A918FBF0-D17C-45E6-95F7-8325964B49D8}"/>
              </a:ext>
            </a:extLst>
          </p:cNvPr>
          <p:cNvSpPr/>
          <p:nvPr/>
        </p:nvSpPr>
        <p:spPr>
          <a:xfrm>
            <a:off x="2879763" y="4890939"/>
            <a:ext cx="4994237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AF392474-C33C-4A05-ACE1-E45FB26BA295}"/>
              </a:ext>
            </a:extLst>
          </p:cNvPr>
          <p:cNvSpPr/>
          <p:nvPr/>
        </p:nvSpPr>
        <p:spPr>
          <a:xfrm>
            <a:off x="7683500" y="5631342"/>
            <a:ext cx="37719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62492328-DB4E-4E37-9491-D044206A35A0}"/>
              </a:ext>
            </a:extLst>
          </p:cNvPr>
          <p:cNvSpPr/>
          <p:nvPr/>
        </p:nvSpPr>
        <p:spPr>
          <a:xfrm>
            <a:off x="5648001" y="5631342"/>
            <a:ext cx="2225999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427812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C5CF843D-1F99-4782-B069-389DA162BFC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710" y="1438565"/>
            <a:ext cx="2824101" cy="46026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5E06610-2687-4FAB-B4D4-17F2C2CE3A23}"/>
              </a:ext>
            </a:extLst>
          </p:cNvPr>
          <p:cNvSpPr/>
          <p:nvPr/>
        </p:nvSpPr>
        <p:spPr>
          <a:xfrm>
            <a:off x="970710" y="1438564"/>
            <a:ext cx="2824101" cy="4602603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BE051A5B-1ED9-472B-A7FC-40F7B1CFCB0A}"/>
              </a:ext>
            </a:extLst>
          </p:cNvPr>
          <p:cNvSpPr/>
          <p:nvPr/>
        </p:nvSpPr>
        <p:spPr>
          <a:xfrm rot="16200000">
            <a:off x="-1533822" y="3536633"/>
            <a:ext cx="4602599" cy="406470"/>
          </a:xfrm>
          <a:prstGeom prst="round2SameRect">
            <a:avLst>
              <a:gd name="adj1" fmla="val 41175"/>
              <a:gd name="adj2" fmla="val 0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6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D00583-9562-46FC-AAED-AB61C8DB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B722FED-47C5-431E-B7BF-A23A43E2E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914207"/>
              </p:ext>
            </p:extLst>
          </p:nvPr>
        </p:nvGraphicFramePr>
        <p:xfrm>
          <a:off x="970710" y="1438570"/>
          <a:ext cx="11221282" cy="46118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23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21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an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ebr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25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rch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algn="ctr"/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pril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ne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l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ugust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ept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Octo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ov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ec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0219B63E-89F8-4091-A808-A4906471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2</a:t>
            </a:fld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30EA05-4AA4-4E7E-BD22-C79D0FA6D026}"/>
              </a:ext>
            </a:extLst>
          </p:cNvPr>
          <p:cNvSpPr/>
          <p:nvPr/>
        </p:nvSpPr>
        <p:spPr>
          <a:xfrm>
            <a:off x="4389436" y="190420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73C5BD4-CD7E-44CA-AF1B-EE5D8D5D53A0}"/>
              </a:ext>
            </a:extLst>
          </p:cNvPr>
          <p:cNvSpPr/>
          <p:nvPr/>
        </p:nvSpPr>
        <p:spPr>
          <a:xfrm>
            <a:off x="603963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D3C1BD-F707-4775-BF6C-48CE303E0BF2}"/>
              </a:ext>
            </a:extLst>
          </p:cNvPr>
          <p:cNvSpPr txBox="1"/>
          <p:nvPr/>
        </p:nvSpPr>
        <p:spPr>
          <a:xfrm>
            <a:off x="819865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C8C27C2-BAFF-45CC-9568-C558E8A0EA2A}"/>
              </a:ext>
            </a:extLst>
          </p:cNvPr>
          <p:cNvSpPr/>
          <p:nvPr/>
        </p:nvSpPr>
        <p:spPr>
          <a:xfrm>
            <a:off x="2111405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AB24A9-EE8A-4D03-B755-40B2CC4877E0}"/>
              </a:ext>
            </a:extLst>
          </p:cNvPr>
          <p:cNvSpPr txBox="1"/>
          <p:nvPr/>
        </p:nvSpPr>
        <p:spPr>
          <a:xfrm>
            <a:off x="2327307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1AF9589-8329-4F4D-B5EA-49E287C4E7CA}"/>
              </a:ext>
            </a:extLst>
          </p:cNvPr>
          <p:cNvSpPr/>
          <p:nvPr/>
        </p:nvSpPr>
        <p:spPr>
          <a:xfrm>
            <a:off x="3618847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EB0C3D-979E-4A94-9F8D-A7B807E5B1BD}"/>
              </a:ext>
            </a:extLst>
          </p:cNvPr>
          <p:cNvSpPr txBox="1"/>
          <p:nvPr/>
        </p:nvSpPr>
        <p:spPr>
          <a:xfrm>
            <a:off x="3834749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1F0F1EE-21FA-4082-9FEA-2B29413DB9E1}"/>
              </a:ext>
            </a:extLst>
          </p:cNvPr>
          <p:cNvSpPr/>
          <p:nvPr/>
        </p:nvSpPr>
        <p:spPr>
          <a:xfrm>
            <a:off x="5174588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B15961A-FD74-414B-8FAC-00626171B210}"/>
              </a:ext>
            </a:extLst>
          </p:cNvPr>
          <p:cNvSpPr txBox="1"/>
          <p:nvPr/>
        </p:nvSpPr>
        <p:spPr>
          <a:xfrm>
            <a:off x="5390490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975E187-509A-4DBD-9BBF-2ED6108FD782}"/>
              </a:ext>
            </a:extLst>
          </p:cNvPr>
          <p:cNvSpPr/>
          <p:nvPr/>
        </p:nvSpPr>
        <p:spPr>
          <a:xfrm>
            <a:off x="4933558" y="3286123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C08D264-A768-4119-A180-1B302EDC38AB}"/>
              </a:ext>
            </a:extLst>
          </p:cNvPr>
          <p:cNvSpPr/>
          <p:nvPr/>
        </p:nvSpPr>
        <p:spPr>
          <a:xfrm>
            <a:off x="7638657" y="29479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B8E0ACC-0C3A-4FBF-918A-7AC875A764BE}"/>
              </a:ext>
            </a:extLst>
          </p:cNvPr>
          <p:cNvSpPr/>
          <p:nvPr/>
        </p:nvSpPr>
        <p:spPr>
          <a:xfrm>
            <a:off x="8717888" y="4729161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97D913F-82E8-4620-9A92-8C72D657C44B}"/>
              </a:ext>
            </a:extLst>
          </p:cNvPr>
          <p:cNvSpPr/>
          <p:nvPr/>
        </p:nvSpPr>
        <p:spPr>
          <a:xfrm>
            <a:off x="6010066" y="506253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6B7F147-E1A4-475F-9D0D-9A121E3BFAE0}"/>
              </a:ext>
            </a:extLst>
          </p:cNvPr>
          <p:cNvSpPr/>
          <p:nvPr/>
        </p:nvSpPr>
        <p:spPr>
          <a:xfrm>
            <a:off x="11163348" y="3643819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87C53D9-96DC-4BF9-9B08-D764F1E62C33}"/>
              </a:ext>
            </a:extLst>
          </p:cNvPr>
          <p:cNvSpPr/>
          <p:nvPr/>
        </p:nvSpPr>
        <p:spPr>
          <a:xfrm>
            <a:off x="10632413" y="541625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E4CA365-B37D-4A24-BE47-A213D57B131A}"/>
              </a:ext>
            </a:extLst>
          </p:cNvPr>
          <p:cNvSpPr/>
          <p:nvPr/>
        </p:nvSpPr>
        <p:spPr>
          <a:xfrm>
            <a:off x="10067716" y="22240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68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A38875D0-C728-4DAA-BAC2-90E99073509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225" y="1343027"/>
            <a:ext cx="2895602" cy="1866271"/>
          </a:xfrm>
          <a:custGeom>
            <a:avLst/>
            <a:gdLst>
              <a:gd name="connsiteX0" fmla="*/ 0 w 2895602"/>
              <a:gd name="connsiteY0" fmla="*/ 0 h 1866271"/>
              <a:gd name="connsiteX1" fmla="*/ 2895602 w 2895602"/>
              <a:gd name="connsiteY1" fmla="*/ 0 h 1866271"/>
              <a:gd name="connsiteX2" fmla="*/ 2895602 w 2895602"/>
              <a:gd name="connsiteY2" fmla="*/ 1539228 h 1866271"/>
              <a:gd name="connsiteX3" fmla="*/ 352202 w 2895602"/>
              <a:gd name="connsiteY3" fmla="*/ 1539228 h 1866271"/>
              <a:gd name="connsiteX4" fmla="*/ 1 w 2895602"/>
              <a:gd name="connsiteY4" fmla="*/ 1866271 h 1866271"/>
              <a:gd name="connsiteX5" fmla="*/ 1 w 2895602"/>
              <a:gd name="connsiteY5" fmla="*/ 1539228 h 1866271"/>
              <a:gd name="connsiteX6" fmla="*/ 0 w 2895602"/>
              <a:gd name="connsiteY6" fmla="*/ 1539228 h 1866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95602" h="1866271">
                <a:moveTo>
                  <a:pt x="0" y="0"/>
                </a:moveTo>
                <a:lnTo>
                  <a:pt x="2895602" y="0"/>
                </a:lnTo>
                <a:lnTo>
                  <a:pt x="2895602" y="1539228"/>
                </a:lnTo>
                <a:lnTo>
                  <a:pt x="352202" y="1539228"/>
                </a:lnTo>
                <a:lnTo>
                  <a:pt x="1" y="1866271"/>
                </a:lnTo>
                <a:lnTo>
                  <a:pt x="1" y="1539228"/>
                </a:lnTo>
                <a:lnTo>
                  <a:pt x="0" y="1539228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819344-FD35-44CA-85CA-C1FF8774C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7FAB9A-F088-4078-9881-D109EE8EC9C7}"/>
              </a:ext>
            </a:extLst>
          </p:cNvPr>
          <p:cNvSpPr/>
          <p:nvPr/>
        </p:nvSpPr>
        <p:spPr>
          <a:xfrm>
            <a:off x="0" y="3614565"/>
            <a:ext cx="12192000" cy="143223"/>
          </a:xfrm>
          <a:prstGeom prst="rect">
            <a:avLst/>
          </a:prstGeom>
          <a:gradFill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E50C25-F392-40E5-9CAE-25296E71AB4E}"/>
              </a:ext>
            </a:extLst>
          </p:cNvPr>
          <p:cNvSpPr txBox="1"/>
          <p:nvPr/>
        </p:nvSpPr>
        <p:spPr>
          <a:xfrm>
            <a:off x="571500" y="2923342"/>
            <a:ext cx="1364476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ID" sz="4000" b="1" dirty="0">
                <a:solidFill>
                  <a:srgbClr val="3B87B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57180A9-130A-470E-A1E4-3083C9415942}"/>
              </a:ext>
            </a:extLst>
          </p:cNvPr>
          <p:cNvSpPr/>
          <p:nvPr/>
        </p:nvSpPr>
        <p:spPr>
          <a:xfrm>
            <a:off x="2562224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gradFill>
              <a:gsLst>
                <a:gs pos="0">
                  <a:srgbClr val="3B87B1"/>
                </a:gs>
                <a:gs pos="100000">
                  <a:srgbClr val="295E7B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9F32AE-6773-4FB4-84BC-7DBAEC206B4C}"/>
              </a:ext>
            </a:extLst>
          </p:cNvPr>
          <p:cNvSpPr/>
          <p:nvPr/>
        </p:nvSpPr>
        <p:spPr>
          <a:xfrm>
            <a:off x="6751712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C8AEC5D-7923-4ABE-98C4-24904597D3F8}"/>
              </a:ext>
            </a:extLst>
          </p:cNvPr>
          <p:cNvGrpSpPr/>
          <p:nvPr/>
        </p:nvGrpSpPr>
        <p:grpSpPr>
          <a:xfrm>
            <a:off x="6751712" y="1343026"/>
            <a:ext cx="2895601" cy="1866272"/>
            <a:chOff x="6637412" y="1343025"/>
            <a:chExt cx="2895601" cy="1866272"/>
          </a:xfrm>
          <a:solidFill>
            <a:schemeClr val="bg1">
              <a:lumMod val="9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6FDF9CD-6931-4352-A2D0-739618240921}"/>
                </a:ext>
              </a:extLst>
            </p:cNvPr>
            <p:cNvSpPr/>
            <p:nvPr/>
          </p:nvSpPr>
          <p:spPr>
            <a:xfrm>
              <a:off x="6637412" y="1343025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848259A3-A82C-485E-BD35-DD5D0B3FD9CF}"/>
                </a:ext>
              </a:extLst>
            </p:cNvPr>
            <p:cNvSpPr/>
            <p:nvPr/>
          </p:nvSpPr>
          <p:spPr>
            <a:xfrm rot="5400000">
              <a:off x="6665895" y="2853772"/>
              <a:ext cx="327042" cy="384007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B731407-876A-4BB3-9953-DF94D9E5A816}"/>
              </a:ext>
            </a:extLst>
          </p:cNvPr>
          <p:cNvSpPr/>
          <p:nvPr/>
        </p:nvSpPr>
        <p:spPr>
          <a:xfrm>
            <a:off x="4656968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25D1AB-B840-4E5D-BD33-00A66852F5B1}"/>
              </a:ext>
            </a:extLst>
          </p:cNvPr>
          <p:cNvGrpSpPr/>
          <p:nvPr/>
        </p:nvGrpSpPr>
        <p:grpSpPr>
          <a:xfrm>
            <a:off x="4656968" y="4129332"/>
            <a:ext cx="2895601" cy="1909519"/>
            <a:chOff x="4542668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51F6E85-2D7D-4E01-8C4F-D90743D53BA2}"/>
                </a:ext>
              </a:extLst>
            </p:cNvPr>
            <p:cNvSpPr/>
            <p:nvPr/>
          </p:nvSpPr>
          <p:spPr>
            <a:xfrm>
              <a:off x="4542668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9A501627-B69A-497B-8F57-C64AD1B778E3}"/>
                </a:ext>
              </a:extLst>
            </p:cNvPr>
            <p:cNvSpPr/>
            <p:nvPr/>
          </p:nvSpPr>
          <p:spPr>
            <a:xfrm>
              <a:off x="4542668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23802CE8-5F02-4E61-B87A-1C7D39432C54}"/>
              </a:ext>
            </a:extLst>
          </p:cNvPr>
          <p:cNvSpPr/>
          <p:nvPr/>
        </p:nvSpPr>
        <p:spPr>
          <a:xfrm>
            <a:off x="8846456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D2FA77E-DC44-471E-AA76-17B87070C4A3}"/>
              </a:ext>
            </a:extLst>
          </p:cNvPr>
          <p:cNvGrpSpPr/>
          <p:nvPr/>
        </p:nvGrpSpPr>
        <p:grpSpPr>
          <a:xfrm>
            <a:off x="8846456" y="4129332"/>
            <a:ext cx="2895601" cy="1909519"/>
            <a:chOff x="8732156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ADE434-7883-45E2-BCEE-8337B4B76BF6}"/>
                </a:ext>
              </a:extLst>
            </p:cNvPr>
            <p:cNvSpPr/>
            <p:nvPr/>
          </p:nvSpPr>
          <p:spPr>
            <a:xfrm>
              <a:off x="8732156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9253AAC3-8554-4FA4-8B81-91F86B614204}"/>
                </a:ext>
              </a:extLst>
            </p:cNvPr>
            <p:cNvSpPr/>
            <p:nvPr/>
          </p:nvSpPr>
          <p:spPr>
            <a:xfrm>
              <a:off x="8732156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9BEDB25-0EA0-451D-B1E8-E30DF211C460}"/>
              </a:ext>
            </a:extLst>
          </p:cNvPr>
          <p:cNvSpPr/>
          <p:nvPr/>
        </p:nvSpPr>
        <p:spPr>
          <a:xfrm rot="5400000">
            <a:off x="3076891" y="828363"/>
            <a:ext cx="1866271" cy="2895602"/>
          </a:xfrm>
          <a:custGeom>
            <a:avLst/>
            <a:gdLst>
              <a:gd name="connsiteX0" fmla="*/ 0 w 1866271"/>
              <a:gd name="connsiteY0" fmla="*/ 2895602 h 2895602"/>
              <a:gd name="connsiteX1" fmla="*/ 0 w 1866271"/>
              <a:gd name="connsiteY1" fmla="*/ 0 h 2895602"/>
              <a:gd name="connsiteX2" fmla="*/ 1539228 w 1866271"/>
              <a:gd name="connsiteY2" fmla="*/ 0 h 2895602"/>
              <a:gd name="connsiteX3" fmla="*/ 1539228 w 1866271"/>
              <a:gd name="connsiteY3" fmla="*/ 2543400 h 2895602"/>
              <a:gd name="connsiteX4" fmla="*/ 1866271 w 1866271"/>
              <a:gd name="connsiteY4" fmla="*/ 2895601 h 2895602"/>
              <a:gd name="connsiteX5" fmla="*/ 1539228 w 1866271"/>
              <a:gd name="connsiteY5" fmla="*/ 2895601 h 2895602"/>
              <a:gd name="connsiteX6" fmla="*/ 1539228 w 1866271"/>
              <a:gd name="connsiteY6" fmla="*/ 2895602 h 289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6271" h="2895602">
                <a:moveTo>
                  <a:pt x="0" y="2895602"/>
                </a:moveTo>
                <a:lnTo>
                  <a:pt x="0" y="0"/>
                </a:lnTo>
                <a:lnTo>
                  <a:pt x="1539228" y="0"/>
                </a:lnTo>
                <a:lnTo>
                  <a:pt x="1539228" y="2543400"/>
                </a:lnTo>
                <a:lnTo>
                  <a:pt x="1866271" y="2895601"/>
                </a:lnTo>
                <a:lnTo>
                  <a:pt x="1539228" y="2895601"/>
                </a:lnTo>
                <a:lnTo>
                  <a:pt x="1539228" y="2895602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0AFEBE-B41F-4595-97C4-A0F695813749}"/>
              </a:ext>
            </a:extLst>
          </p:cNvPr>
          <p:cNvSpPr txBox="1"/>
          <p:nvPr/>
        </p:nvSpPr>
        <p:spPr>
          <a:xfrm>
            <a:off x="3154856" y="1755776"/>
            <a:ext cx="1710340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/>
            <a:r>
              <a:rPr lang="en-ID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71F27F-F51E-4787-BCAE-1A28C1704E38}"/>
              </a:ext>
            </a:extLst>
          </p:cNvPr>
          <p:cNvSpPr txBox="1"/>
          <p:nvPr/>
        </p:nvSpPr>
        <p:spPr>
          <a:xfrm>
            <a:off x="571499" y="4737348"/>
            <a:ext cx="35718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8AC1421-E57A-43F9-A36E-3A25539B5B4A}"/>
              </a:ext>
            </a:extLst>
          </p:cNvPr>
          <p:cNvSpPr txBox="1"/>
          <p:nvPr/>
        </p:nvSpPr>
        <p:spPr>
          <a:xfrm>
            <a:off x="4770512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F7EE5B-459D-4447-9F8A-2BCB8AFD719A}"/>
              </a:ext>
            </a:extLst>
          </p:cNvPr>
          <p:cNvSpPr txBox="1"/>
          <p:nvPr/>
        </p:nvSpPr>
        <p:spPr>
          <a:xfrm>
            <a:off x="8959999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2B59996-7BB2-4DB8-9864-2B449F7F581F}"/>
              </a:ext>
            </a:extLst>
          </p:cNvPr>
          <p:cNvSpPr txBox="1"/>
          <p:nvPr/>
        </p:nvSpPr>
        <p:spPr>
          <a:xfrm>
            <a:off x="6865255" y="1426650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91657E30-0A2F-48B1-A628-347DDA585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3</a:t>
            </a:fld>
            <a:endParaRPr lang="en-US"/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4DFD1EBC-1058-44DA-A7A5-E40C5853BF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483" y="4316101"/>
            <a:ext cx="318882" cy="318882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04E14D5-6420-4A1A-BBBF-7402B29F0C51}"/>
              </a:ext>
            </a:extLst>
          </p:cNvPr>
          <p:cNvCxnSpPr>
            <a:cxnSpLocks/>
          </p:cNvCxnSpPr>
          <p:nvPr/>
        </p:nvCxnSpPr>
        <p:spPr>
          <a:xfrm>
            <a:off x="6751712" y="1343026"/>
            <a:ext cx="2895601" cy="0"/>
          </a:xfrm>
          <a:prstGeom prst="line">
            <a:avLst/>
          </a:prstGeom>
          <a:ln w="15875">
            <a:solidFill>
              <a:srgbClr val="A6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F20DA67-E5BD-4822-BDAC-4D1555FAFC73}"/>
              </a:ext>
            </a:extLst>
          </p:cNvPr>
          <p:cNvCxnSpPr>
            <a:cxnSpLocks/>
          </p:cNvCxnSpPr>
          <p:nvPr/>
        </p:nvCxnSpPr>
        <p:spPr>
          <a:xfrm>
            <a:off x="4656968" y="6038851"/>
            <a:ext cx="2895601" cy="0"/>
          </a:xfrm>
          <a:prstGeom prst="line">
            <a:avLst/>
          </a:prstGeom>
          <a:ln w="15875">
            <a:solidFill>
              <a:srgbClr val="DE4D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F7FBAE8-8026-4607-A445-7F8BCD94F9C0}"/>
              </a:ext>
            </a:extLst>
          </p:cNvPr>
          <p:cNvCxnSpPr>
            <a:cxnSpLocks/>
          </p:cNvCxnSpPr>
          <p:nvPr/>
        </p:nvCxnSpPr>
        <p:spPr>
          <a:xfrm>
            <a:off x="8846456" y="6038851"/>
            <a:ext cx="2895601" cy="0"/>
          </a:xfrm>
          <a:prstGeom prst="line">
            <a:avLst/>
          </a:prstGeom>
          <a:ln w="15875">
            <a:solidFill>
              <a:srgbClr val="6B2B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4844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>
            <a:alphaModFix/>
          </a:blip>
          <a:srcRect t="18724" b="13617"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3212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35" t="7099" r="67646" b="5151"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87" t="13143" r="-2475" b="8671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4006" r="2305" b="6680"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68" t="9595" r="-1553" b="5072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9" t="3031" r="67137" b="28821"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93" b="28061"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820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A9598E-620E-4294-9922-84E94B450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38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73731D2-CAA4-4FBA-A6D5-349C08FE0588}"/>
              </a:ext>
            </a:extLst>
          </p:cNvPr>
          <p:cNvSpPr/>
          <p:nvPr/>
        </p:nvSpPr>
        <p:spPr>
          <a:xfrm>
            <a:off x="1480458" y="1651000"/>
            <a:ext cx="10711542" cy="44159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erson working on a computer&#10;&#10;Description automatically generated with medium confidence">
            <a:extLst>
              <a:ext uri="{FF2B5EF4-FFF2-40B4-BE49-F238E27FC236}">
                <a16:creationId xmlns:a16="http://schemas.microsoft.com/office/drawing/2014/main" id="{48015A73-67A5-4423-8954-220CC4E487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02" t="2619" r="42607" b="1613"/>
          <a:stretch/>
        </p:blipFill>
        <p:spPr>
          <a:xfrm>
            <a:off x="564244" y="2235200"/>
            <a:ext cx="1583871" cy="3831771"/>
          </a:xfrm>
          <a:custGeom>
            <a:avLst/>
            <a:gdLst>
              <a:gd name="connsiteX0" fmla="*/ 75297 w 1583871"/>
              <a:gd name="connsiteY0" fmla="*/ 0 h 3831771"/>
              <a:gd name="connsiteX1" fmla="*/ 1508574 w 1583871"/>
              <a:gd name="connsiteY1" fmla="*/ 0 h 3831771"/>
              <a:gd name="connsiteX2" fmla="*/ 1583871 w 1583871"/>
              <a:gd name="connsiteY2" fmla="*/ 75297 h 3831771"/>
              <a:gd name="connsiteX3" fmla="*/ 1583871 w 1583871"/>
              <a:gd name="connsiteY3" fmla="*/ 3756474 h 3831771"/>
              <a:gd name="connsiteX4" fmla="*/ 1508574 w 1583871"/>
              <a:gd name="connsiteY4" fmla="*/ 3831771 h 3831771"/>
              <a:gd name="connsiteX5" fmla="*/ 75297 w 1583871"/>
              <a:gd name="connsiteY5" fmla="*/ 3831771 h 3831771"/>
              <a:gd name="connsiteX6" fmla="*/ 0 w 1583871"/>
              <a:gd name="connsiteY6" fmla="*/ 3756474 h 3831771"/>
              <a:gd name="connsiteX7" fmla="*/ 0 w 1583871"/>
              <a:gd name="connsiteY7" fmla="*/ 75297 h 3831771"/>
              <a:gd name="connsiteX8" fmla="*/ 75297 w 1583871"/>
              <a:gd name="connsiteY8" fmla="*/ 0 h 383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3871" h="3831771">
                <a:moveTo>
                  <a:pt x="75297" y="0"/>
                </a:moveTo>
                <a:lnTo>
                  <a:pt x="1508574" y="0"/>
                </a:lnTo>
                <a:cubicBezTo>
                  <a:pt x="1550159" y="0"/>
                  <a:pt x="1583871" y="33712"/>
                  <a:pt x="1583871" y="75297"/>
                </a:cubicBezTo>
                <a:lnTo>
                  <a:pt x="1583871" y="3756474"/>
                </a:lnTo>
                <a:cubicBezTo>
                  <a:pt x="1583871" y="3798059"/>
                  <a:pt x="1550159" y="3831771"/>
                  <a:pt x="1508574" y="3831771"/>
                </a:cubicBezTo>
                <a:lnTo>
                  <a:pt x="75297" y="3831771"/>
                </a:lnTo>
                <a:cubicBezTo>
                  <a:pt x="33712" y="3831771"/>
                  <a:pt x="0" y="3798059"/>
                  <a:pt x="0" y="3756474"/>
                </a:cubicBezTo>
                <a:lnTo>
                  <a:pt x="0" y="75297"/>
                </a:lnTo>
                <a:cubicBezTo>
                  <a:pt x="0" y="33712"/>
                  <a:pt x="33712" y="0"/>
                  <a:pt x="75297" y="0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76A6F0-799A-46CE-80C1-B2E89F91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2D1C2-7AAA-46F3-B372-40AEB3FE6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5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8145FC8-AACA-4D6A-8A49-5EB8F48B8E45}"/>
              </a:ext>
            </a:extLst>
          </p:cNvPr>
          <p:cNvSpPr/>
          <p:nvPr/>
        </p:nvSpPr>
        <p:spPr>
          <a:xfrm>
            <a:off x="564243" y="2235200"/>
            <a:ext cx="1583871" cy="3831771"/>
          </a:xfrm>
          <a:prstGeom prst="roundRect">
            <a:avLst>
              <a:gd name="adj" fmla="val 4754"/>
            </a:avLst>
          </a:prstGeom>
          <a:solidFill>
            <a:schemeClr val="tx1">
              <a:lumMod val="85000"/>
              <a:lumOff val="1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BC1AAF-DF9B-4EF8-8CFA-77CD37C936ED}"/>
              </a:ext>
            </a:extLst>
          </p:cNvPr>
          <p:cNvSpPr/>
          <p:nvPr/>
        </p:nvSpPr>
        <p:spPr>
          <a:xfrm>
            <a:off x="2301241" y="1431471"/>
            <a:ext cx="9326516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/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795DBF0-484B-4FE0-A98B-7E34092FC3F6}"/>
              </a:ext>
            </a:extLst>
          </p:cNvPr>
          <p:cNvSpPr/>
          <p:nvPr/>
        </p:nvSpPr>
        <p:spPr>
          <a:xfrm>
            <a:off x="2305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7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6176D1A-2422-4CFE-9659-95911BF8C352}"/>
              </a:ext>
            </a:extLst>
          </p:cNvPr>
          <p:cNvSpPr/>
          <p:nvPr/>
        </p:nvSpPr>
        <p:spPr>
          <a:xfrm>
            <a:off x="3829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8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C1B6E41-99E8-4B2A-A7EC-E235AE6E8311}"/>
              </a:ext>
            </a:extLst>
          </p:cNvPr>
          <p:cNvSpPr/>
          <p:nvPr/>
        </p:nvSpPr>
        <p:spPr>
          <a:xfrm>
            <a:off x="5337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9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F67C28-83A4-45E3-981F-9E56C5F23F31}"/>
              </a:ext>
            </a:extLst>
          </p:cNvPr>
          <p:cNvSpPr/>
          <p:nvPr/>
        </p:nvSpPr>
        <p:spPr>
          <a:xfrm>
            <a:off x="6871335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0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38732B7-27ED-4F50-BF76-F296FFD2C378}"/>
              </a:ext>
            </a:extLst>
          </p:cNvPr>
          <p:cNvSpPr/>
          <p:nvPr/>
        </p:nvSpPr>
        <p:spPr>
          <a:xfrm>
            <a:off x="840486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B7645FC-5BE2-4C78-BE4B-4E031D7FE3E1}"/>
              </a:ext>
            </a:extLst>
          </p:cNvPr>
          <p:cNvSpPr/>
          <p:nvPr/>
        </p:nvSpPr>
        <p:spPr>
          <a:xfrm>
            <a:off x="9909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80D9353-6268-445A-8B1A-FC60AC8A75A8}"/>
              </a:ext>
            </a:extLst>
          </p:cNvPr>
          <p:cNvGrpSpPr/>
          <p:nvPr/>
        </p:nvGrpSpPr>
        <p:grpSpPr>
          <a:xfrm>
            <a:off x="3825875" y="1517150"/>
            <a:ext cx="6083300" cy="365671"/>
            <a:chOff x="3825875" y="-558800"/>
            <a:chExt cx="6083300" cy="792480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FF6BC84-6E0E-43CE-BD65-274E4A498808}"/>
                </a:ext>
              </a:extLst>
            </p:cNvPr>
            <p:cNvCxnSpPr/>
            <p:nvPr/>
          </p:nvCxnSpPr>
          <p:spPr>
            <a:xfrm>
              <a:off x="38258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213A625-8CFE-4669-8B70-8AA8286D4F72}"/>
                </a:ext>
              </a:extLst>
            </p:cNvPr>
            <p:cNvCxnSpPr/>
            <p:nvPr/>
          </p:nvCxnSpPr>
          <p:spPr>
            <a:xfrm>
              <a:off x="534670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1E720DB-136E-4DDE-B7DD-2A58B3898155}"/>
                </a:ext>
              </a:extLst>
            </p:cNvPr>
            <p:cNvCxnSpPr/>
            <p:nvPr/>
          </p:nvCxnSpPr>
          <p:spPr>
            <a:xfrm>
              <a:off x="838835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45FEB09-8319-49E9-B485-21A8828ED557}"/>
                </a:ext>
              </a:extLst>
            </p:cNvPr>
            <p:cNvCxnSpPr/>
            <p:nvPr/>
          </p:nvCxnSpPr>
          <p:spPr>
            <a:xfrm>
              <a:off x="99091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74BFFA3-4E91-4670-81F5-1F50E6A943AB}"/>
                </a:ext>
              </a:extLst>
            </p:cNvPr>
            <p:cNvCxnSpPr/>
            <p:nvPr/>
          </p:nvCxnSpPr>
          <p:spPr>
            <a:xfrm>
              <a:off x="686752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9ACB48-E7C5-490B-B78C-E439CFC4E2CE}"/>
              </a:ext>
            </a:extLst>
          </p:cNvPr>
          <p:cNvGrpSpPr/>
          <p:nvPr/>
        </p:nvGrpSpPr>
        <p:grpSpPr>
          <a:xfrm>
            <a:off x="564243" y="2896281"/>
            <a:ext cx="1583871" cy="2373087"/>
            <a:chOff x="-271463" y="2896281"/>
            <a:chExt cx="13044034" cy="2373087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EC0E4AB-30AA-4F27-81B0-65EB7344B46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4612645-E2C5-48BF-9851-F06B6BC9F5F6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A7110B9-4D96-459A-A3D9-6567759EEB9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1BB6414-2854-434D-A099-162AECD1F564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C66B432-F979-4B25-8256-5D5F77F790DD}"/>
              </a:ext>
            </a:extLst>
          </p:cNvPr>
          <p:cNvSpPr/>
          <p:nvPr/>
        </p:nvSpPr>
        <p:spPr>
          <a:xfrm>
            <a:off x="793116" y="24058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AC07101-8CF6-4A4C-B2EF-1B1DF65DDAB2}"/>
              </a:ext>
            </a:extLst>
          </p:cNvPr>
          <p:cNvSpPr/>
          <p:nvPr/>
        </p:nvSpPr>
        <p:spPr>
          <a:xfrm>
            <a:off x="793116" y="317967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2233B7D-7FC4-4EE9-98E0-5534C1178569}"/>
              </a:ext>
            </a:extLst>
          </p:cNvPr>
          <p:cNvSpPr/>
          <p:nvPr/>
        </p:nvSpPr>
        <p:spPr>
          <a:xfrm>
            <a:off x="793116" y="3953465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B354A2E-DCB0-41EC-A353-BFE5630E7A0F}"/>
              </a:ext>
            </a:extLst>
          </p:cNvPr>
          <p:cNvSpPr/>
          <p:nvPr/>
        </p:nvSpPr>
        <p:spPr>
          <a:xfrm>
            <a:off x="793116" y="4727258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CC0F9D6-7739-4C2F-AF14-D9EC9FF8146E}"/>
              </a:ext>
            </a:extLst>
          </p:cNvPr>
          <p:cNvSpPr/>
          <p:nvPr/>
        </p:nvSpPr>
        <p:spPr>
          <a:xfrm>
            <a:off x="793116" y="550105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3828DBB-74F6-4BF5-B1FE-D6359701001D}"/>
              </a:ext>
            </a:extLst>
          </p:cNvPr>
          <p:cNvSpPr/>
          <p:nvPr/>
        </p:nvSpPr>
        <p:spPr>
          <a:xfrm>
            <a:off x="2301241" y="2369785"/>
            <a:ext cx="3044825" cy="403477"/>
          </a:xfrm>
          <a:prstGeom prst="roundRect">
            <a:avLst>
              <a:gd name="adj" fmla="val 50000"/>
            </a:avLst>
          </a:prstGeom>
          <a:solidFill>
            <a:srgbClr val="6B2B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A9594FC-01E1-4321-B155-79A0707A4CFB}"/>
              </a:ext>
            </a:extLst>
          </p:cNvPr>
          <p:cNvSpPr/>
          <p:nvPr/>
        </p:nvSpPr>
        <p:spPr>
          <a:xfrm>
            <a:off x="2835456" y="3090057"/>
            <a:ext cx="3260539" cy="403477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FF738F4-D580-42C8-93AB-3C383AECF403}"/>
              </a:ext>
            </a:extLst>
          </p:cNvPr>
          <p:cNvSpPr/>
          <p:nvPr/>
        </p:nvSpPr>
        <p:spPr>
          <a:xfrm>
            <a:off x="2835456" y="3876412"/>
            <a:ext cx="5569401" cy="403477"/>
          </a:xfrm>
          <a:prstGeom prst="roundRect">
            <a:avLst>
              <a:gd name="adj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418F5AA-C9B1-4FDD-962E-30825074BF40}"/>
              </a:ext>
            </a:extLst>
          </p:cNvPr>
          <p:cNvSpPr/>
          <p:nvPr/>
        </p:nvSpPr>
        <p:spPr>
          <a:xfrm>
            <a:off x="5346066" y="4672115"/>
            <a:ext cx="4571362" cy="403477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7E0B37C-1480-4AD6-A99C-77AA492DC36D}"/>
              </a:ext>
            </a:extLst>
          </p:cNvPr>
          <p:cNvSpPr/>
          <p:nvPr/>
        </p:nvSpPr>
        <p:spPr>
          <a:xfrm>
            <a:off x="6887935" y="5463143"/>
            <a:ext cx="4571362" cy="403477"/>
          </a:xfrm>
          <a:prstGeom prst="roundRect">
            <a:avLst>
              <a:gd name="adj" fmla="val 5000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055429AD-D3E7-49FB-982B-A3066858BBE9}"/>
              </a:ext>
            </a:extLst>
          </p:cNvPr>
          <p:cNvSpPr>
            <a:spLocks noEditPoints="1"/>
          </p:cNvSpPr>
          <p:nvPr/>
        </p:nvSpPr>
        <p:spPr bwMode="auto">
          <a:xfrm>
            <a:off x="5034741" y="245059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3" name="Freeform 35">
            <a:extLst>
              <a:ext uri="{FF2B5EF4-FFF2-40B4-BE49-F238E27FC236}">
                <a16:creationId xmlns:a16="http://schemas.microsoft.com/office/drawing/2014/main" id="{9F374F76-0581-4078-A502-0767DE15DA78}"/>
              </a:ext>
            </a:extLst>
          </p:cNvPr>
          <p:cNvSpPr>
            <a:spLocks noEditPoints="1"/>
          </p:cNvSpPr>
          <p:nvPr/>
        </p:nvSpPr>
        <p:spPr bwMode="auto">
          <a:xfrm>
            <a:off x="5753832" y="3170868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4" name="Freeform 35">
            <a:extLst>
              <a:ext uri="{FF2B5EF4-FFF2-40B4-BE49-F238E27FC236}">
                <a16:creationId xmlns:a16="http://schemas.microsoft.com/office/drawing/2014/main" id="{E307D391-3528-4D9A-9EE0-BBB3B4B1C327}"/>
              </a:ext>
            </a:extLst>
          </p:cNvPr>
          <p:cNvSpPr>
            <a:spLocks noEditPoints="1"/>
          </p:cNvSpPr>
          <p:nvPr/>
        </p:nvSpPr>
        <p:spPr bwMode="auto">
          <a:xfrm>
            <a:off x="8051917" y="3957223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5" name="Freeform 35">
            <a:extLst>
              <a:ext uri="{FF2B5EF4-FFF2-40B4-BE49-F238E27FC236}">
                <a16:creationId xmlns:a16="http://schemas.microsoft.com/office/drawing/2014/main" id="{3531E830-63F0-49F8-A2CE-68FD2320C4CD}"/>
              </a:ext>
            </a:extLst>
          </p:cNvPr>
          <p:cNvSpPr>
            <a:spLocks noEditPoints="1"/>
          </p:cNvSpPr>
          <p:nvPr/>
        </p:nvSpPr>
        <p:spPr bwMode="auto">
          <a:xfrm>
            <a:off x="9591021" y="475292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6" name="Freeform 35">
            <a:extLst>
              <a:ext uri="{FF2B5EF4-FFF2-40B4-BE49-F238E27FC236}">
                <a16:creationId xmlns:a16="http://schemas.microsoft.com/office/drawing/2014/main" id="{AE23EA1B-216C-45C1-A94B-16C1561EEA0B}"/>
              </a:ext>
            </a:extLst>
          </p:cNvPr>
          <p:cNvSpPr>
            <a:spLocks noEditPoints="1"/>
          </p:cNvSpPr>
          <p:nvPr/>
        </p:nvSpPr>
        <p:spPr bwMode="auto">
          <a:xfrm>
            <a:off x="11112753" y="5543954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49265A9-F20E-4535-9B2E-57B15AC12D1A}"/>
              </a:ext>
            </a:extLst>
          </p:cNvPr>
          <p:cNvGrpSpPr/>
          <p:nvPr/>
        </p:nvGrpSpPr>
        <p:grpSpPr>
          <a:xfrm>
            <a:off x="2335893" y="2896281"/>
            <a:ext cx="9291863" cy="2373087"/>
            <a:chOff x="-271463" y="2896281"/>
            <a:chExt cx="13044034" cy="2373087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18C6147-55AA-4C31-8957-720F7B077B62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F2BAE0E-2921-4506-8161-95464CCC7C8F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17B00AD-91AA-4371-ACA8-3EF414FE694C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8041B2D-0217-4C61-B93C-2A01A1249699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7728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B3BB50-B18B-4C50-8741-B6C6D83E9F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546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2F4B06E-B462-4F87-90FA-F1DFAA173577}"/>
              </a:ext>
            </a:extLst>
          </p:cNvPr>
          <p:cNvSpPr/>
          <p:nvPr/>
        </p:nvSpPr>
        <p:spPr>
          <a:xfrm rot="16200000">
            <a:off x="530266" y="1860323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50F298-BEA9-4F33-9806-0D4F0A6CD583}"/>
              </a:ext>
            </a:extLst>
          </p:cNvPr>
          <p:cNvSpPr/>
          <p:nvPr/>
        </p:nvSpPr>
        <p:spPr>
          <a:xfrm rot="16200000">
            <a:off x="530266" y="2572702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4F637B5-3B20-4880-9000-62A3086D7253}"/>
              </a:ext>
            </a:extLst>
          </p:cNvPr>
          <p:cNvSpPr/>
          <p:nvPr/>
        </p:nvSpPr>
        <p:spPr>
          <a:xfrm rot="16200000">
            <a:off x="530266" y="3285081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05A9030-8E8F-4E26-8941-EE7F90FCF899}"/>
              </a:ext>
            </a:extLst>
          </p:cNvPr>
          <p:cNvSpPr/>
          <p:nvPr/>
        </p:nvSpPr>
        <p:spPr>
          <a:xfrm rot="16200000">
            <a:off x="530266" y="3997460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6D2FA34-9B59-44C5-89CD-3EBD2EBF4B87}"/>
              </a:ext>
            </a:extLst>
          </p:cNvPr>
          <p:cNvSpPr/>
          <p:nvPr/>
        </p:nvSpPr>
        <p:spPr>
          <a:xfrm rot="16200000">
            <a:off x="530266" y="470983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749BFBF-99E0-4B3B-82E6-EBB955F2CC75}"/>
              </a:ext>
            </a:extLst>
          </p:cNvPr>
          <p:cNvSpPr/>
          <p:nvPr/>
        </p:nvSpPr>
        <p:spPr>
          <a:xfrm rot="16200000">
            <a:off x="530266" y="542221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5" name="Picture 44" descr="A group of people sitting at a table in a room&#10;&#10;Description automatically generated with medium confidence">
            <a:extLst>
              <a:ext uri="{FF2B5EF4-FFF2-40B4-BE49-F238E27FC236}">
                <a16:creationId xmlns:a16="http://schemas.microsoft.com/office/drawing/2014/main" id="{BBE0DEA9-D73F-43E2-B0B5-B8EE060F89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7822" r="684" b="2372"/>
          <a:stretch/>
        </p:blipFill>
        <p:spPr>
          <a:xfrm>
            <a:off x="1128486" y="1651000"/>
            <a:ext cx="11063514" cy="441597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803C172-B32E-4D20-A6A6-62BBF5DFD4A3}"/>
              </a:ext>
            </a:extLst>
          </p:cNvPr>
          <p:cNvSpPr/>
          <p:nvPr/>
        </p:nvSpPr>
        <p:spPr>
          <a:xfrm>
            <a:off x="1128486" y="1651000"/>
            <a:ext cx="11063514" cy="4415971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5D44B5F-B528-4B99-A57F-7AD1ACDCF52D}"/>
              </a:ext>
            </a:extLst>
          </p:cNvPr>
          <p:cNvSpPr/>
          <p:nvPr/>
        </p:nvSpPr>
        <p:spPr>
          <a:xfrm>
            <a:off x="1535790" y="1320799"/>
            <a:ext cx="10115549" cy="431799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09749-75A0-4A93-8D69-114190950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8E41F-CE92-4971-ACA8-0671602E2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6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455290B-90D0-461C-B8F1-AFCFACEFA572}"/>
              </a:ext>
            </a:extLst>
          </p:cNvPr>
          <p:cNvGrpSpPr/>
          <p:nvPr/>
        </p:nvGrpSpPr>
        <p:grpSpPr>
          <a:xfrm>
            <a:off x="2377773" y="1381471"/>
            <a:ext cx="8419800" cy="310455"/>
            <a:chOff x="2377773" y="-457200"/>
            <a:chExt cx="8419800" cy="78486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2E1C219-ED66-4A36-9F08-FD5A040A9446}"/>
                </a:ext>
              </a:extLst>
            </p:cNvPr>
            <p:cNvCxnSpPr/>
            <p:nvPr/>
          </p:nvCxnSpPr>
          <p:spPr>
            <a:xfrm>
              <a:off x="23777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A2329CC-6D11-47C3-8573-4897FC5E7286}"/>
                </a:ext>
              </a:extLst>
            </p:cNvPr>
            <p:cNvCxnSpPr/>
            <p:nvPr/>
          </p:nvCxnSpPr>
          <p:spPr>
            <a:xfrm>
              <a:off x="32197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053E3A6-B23B-4471-B431-D4FD5AA465C0}"/>
                </a:ext>
              </a:extLst>
            </p:cNvPr>
            <p:cNvCxnSpPr/>
            <p:nvPr/>
          </p:nvCxnSpPr>
          <p:spPr>
            <a:xfrm>
              <a:off x="40617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CA31B52-91CE-4EEE-82CB-A9B2C6ED917D}"/>
                </a:ext>
              </a:extLst>
            </p:cNvPr>
            <p:cNvCxnSpPr/>
            <p:nvPr/>
          </p:nvCxnSpPr>
          <p:spPr>
            <a:xfrm>
              <a:off x="49037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29934D8-EAEE-4C30-A37F-501B193278EE}"/>
                </a:ext>
              </a:extLst>
            </p:cNvPr>
            <p:cNvCxnSpPr/>
            <p:nvPr/>
          </p:nvCxnSpPr>
          <p:spPr>
            <a:xfrm>
              <a:off x="57456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F8CB86F-BF59-434E-9203-FBCC860A96BB}"/>
                </a:ext>
              </a:extLst>
            </p:cNvPr>
            <p:cNvCxnSpPr/>
            <p:nvPr/>
          </p:nvCxnSpPr>
          <p:spPr>
            <a:xfrm>
              <a:off x="65876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0ABAD1F-CA65-40CD-9277-237369978D37}"/>
                </a:ext>
              </a:extLst>
            </p:cNvPr>
            <p:cNvCxnSpPr/>
            <p:nvPr/>
          </p:nvCxnSpPr>
          <p:spPr>
            <a:xfrm>
              <a:off x="74296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D80450-147D-4760-813F-5EF4B514467E}"/>
                </a:ext>
              </a:extLst>
            </p:cNvPr>
            <p:cNvCxnSpPr/>
            <p:nvPr/>
          </p:nvCxnSpPr>
          <p:spPr>
            <a:xfrm>
              <a:off x="82716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73826D2-340E-47D7-86F6-0EC162F52575}"/>
                </a:ext>
              </a:extLst>
            </p:cNvPr>
            <p:cNvCxnSpPr/>
            <p:nvPr/>
          </p:nvCxnSpPr>
          <p:spPr>
            <a:xfrm>
              <a:off x="91136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653893D-10F9-463B-988C-40498F0D01F2}"/>
                </a:ext>
              </a:extLst>
            </p:cNvPr>
            <p:cNvCxnSpPr/>
            <p:nvPr/>
          </p:nvCxnSpPr>
          <p:spPr>
            <a:xfrm>
              <a:off x="99555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8008638-7569-4DAE-B626-4D61DD64D26F}"/>
                </a:ext>
              </a:extLst>
            </p:cNvPr>
            <p:cNvCxnSpPr/>
            <p:nvPr/>
          </p:nvCxnSpPr>
          <p:spPr>
            <a:xfrm>
              <a:off x="107975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11D2C3F-D56A-4827-A75D-FAEC4E3812ED}"/>
              </a:ext>
            </a:extLst>
          </p:cNvPr>
          <p:cNvSpPr/>
          <p:nvPr/>
        </p:nvSpPr>
        <p:spPr>
          <a:xfrm>
            <a:off x="153579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2C07E19-2D23-4381-B8F5-692F67DAB9C3}"/>
              </a:ext>
            </a:extLst>
          </p:cNvPr>
          <p:cNvSpPr/>
          <p:nvPr/>
        </p:nvSpPr>
        <p:spPr>
          <a:xfrm>
            <a:off x="237895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b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8BC7775-4FC2-48BE-9FD4-A77B60FBD639}"/>
              </a:ext>
            </a:extLst>
          </p:cNvPr>
          <p:cNvSpPr/>
          <p:nvPr/>
        </p:nvSpPr>
        <p:spPr>
          <a:xfrm>
            <a:off x="322212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C801636-96A4-4735-A626-C9F5CA052278}"/>
              </a:ext>
            </a:extLst>
          </p:cNvPr>
          <p:cNvSpPr/>
          <p:nvPr/>
        </p:nvSpPr>
        <p:spPr>
          <a:xfrm>
            <a:off x="406528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p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5DEC237-9C5E-42DB-B278-F63715368A0B}"/>
              </a:ext>
            </a:extLst>
          </p:cNvPr>
          <p:cNvSpPr/>
          <p:nvPr/>
        </p:nvSpPr>
        <p:spPr>
          <a:xfrm>
            <a:off x="490845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y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24B9241-867B-4714-A931-DD639063CF00}"/>
              </a:ext>
            </a:extLst>
          </p:cNvPr>
          <p:cNvSpPr/>
          <p:nvPr/>
        </p:nvSpPr>
        <p:spPr>
          <a:xfrm>
            <a:off x="575161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69DEBB1-CC33-4FB4-AD6F-2977F549C702}"/>
              </a:ext>
            </a:extLst>
          </p:cNvPr>
          <p:cNvSpPr/>
          <p:nvPr/>
        </p:nvSpPr>
        <p:spPr>
          <a:xfrm>
            <a:off x="659478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l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2AB3B45-5369-4CA6-A3D4-65F1B3E795C5}"/>
              </a:ext>
            </a:extLst>
          </p:cNvPr>
          <p:cNvSpPr/>
          <p:nvPr/>
        </p:nvSpPr>
        <p:spPr>
          <a:xfrm>
            <a:off x="743794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g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0F683D8-7D3D-47EB-800D-2EF9BB36D8AC}"/>
              </a:ext>
            </a:extLst>
          </p:cNvPr>
          <p:cNvSpPr/>
          <p:nvPr/>
        </p:nvSpPr>
        <p:spPr>
          <a:xfrm>
            <a:off x="828111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p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7E66374-5EF5-42B3-83E0-E667FEC0AC59}"/>
              </a:ext>
            </a:extLst>
          </p:cNvPr>
          <p:cNvSpPr/>
          <p:nvPr/>
        </p:nvSpPr>
        <p:spPr>
          <a:xfrm>
            <a:off x="912427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ct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BF1ECE1-2864-4636-8245-6F6F7ADCDEE3}"/>
              </a:ext>
            </a:extLst>
          </p:cNvPr>
          <p:cNvSpPr/>
          <p:nvPr/>
        </p:nvSpPr>
        <p:spPr>
          <a:xfrm>
            <a:off x="996744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v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F48A04D-1CC6-4F1F-BD77-67D2A6EE0E7F}"/>
              </a:ext>
            </a:extLst>
          </p:cNvPr>
          <p:cNvSpPr/>
          <p:nvPr/>
        </p:nvSpPr>
        <p:spPr>
          <a:xfrm>
            <a:off x="1081060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c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5762BA-ED1B-484C-BD68-BADD1A131F1E}"/>
              </a:ext>
            </a:extLst>
          </p:cNvPr>
          <p:cNvCxnSpPr>
            <a:cxnSpLocks/>
          </p:cNvCxnSpPr>
          <p:nvPr/>
        </p:nvCxnSpPr>
        <p:spPr>
          <a:xfrm flipH="1">
            <a:off x="1091293" y="24545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5C21974-203D-4553-B1CB-5E4DBC8E5E6A}"/>
              </a:ext>
            </a:extLst>
          </p:cNvPr>
          <p:cNvCxnSpPr>
            <a:cxnSpLocks/>
          </p:cNvCxnSpPr>
          <p:nvPr/>
        </p:nvCxnSpPr>
        <p:spPr>
          <a:xfrm flipH="1">
            <a:off x="1091293" y="31784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F1FAB1D-A5C0-45CA-BFDA-538DF5490014}"/>
              </a:ext>
            </a:extLst>
          </p:cNvPr>
          <p:cNvCxnSpPr>
            <a:cxnSpLocks/>
          </p:cNvCxnSpPr>
          <p:nvPr/>
        </p:nvCxnSpPr>
        <p:spPr>
          <a:xfrm flipH="1">
            <a:off x="1091293" y="388329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176BEB4-96CC-4DCE-BC36-00D2D290A15F}"/>
              </a:ext>
            </a:extLst>
          </p:cNvPr>
          <p:cNvCxnSpPr>
            <a:cxnSpLocks/>
          </p:cNvCxnSpPr>
          <p:nvPr/>
        </p:nvCxnSpPr>
        <p:spPr>
          <a:xfrm flipH="1">
            <a:off x="1091293" y="45976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2DE1920-2CD4-4814-84FF-715E007A3181}"/>
              </a:ext>
            </a:extLst>
          </p:cNvPr>
          <p:cNvCxnSpPr>
            <a:cxnSpLocks/>
          </p:cNvCxnSpPr>
          <p:nvPr/>
        </p:nvCxnSpPr>
        <p:spPr>
          <a:xfrm flipH="1">
            <a:off x="1091293" y="53088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E94D9665-F0FE-490C-84A4-822BE352A114}"/>
              </a:ext>
            </a:extLst>
          </p:cNvPr>
          <p:cNvSpPr/>
          <p:nvPr/>
        </p:nvSpPr>
        <p:spPr>
          <a:xfrm>
            <a:off x="1535791" y="1862427"/>
            <a:ext cx="2525942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8F635371-FA53-4A18-A2F9-8A8C5CE5560B}"/>
              </a:ext>
            </a:extLst>
          </p:cNvPr>
          <p:cNvSpPr/>
          <p:nvPr/>
        </p:nvSpPr>
        <p:spPr>
          <a:xfrm>
            <a:off x="2377772" y="2592677"/>
            <a:ext cx="33679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76F062A0-0EB0-432D-9BE8-BA0B46100FC9}"/>
              </a:ext>
            </a:extLst>
          </p:cNvPr>
          <p:cNvSpPr/>
          <p:nvPr/>
        </p:nvSpPr>
        <p:spPr>
          <a:xfrm>
            <a:off x="2016995" y="33329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31A74082-B73F-4469-A016-3A94BD422DDF}"/>
              </a:ext>
            </a:extLst>
          </p:cNvPr>
          <p:cNvSpPr/>
          <p:nvPr/>
        </p:nvSpPr>
        <p:spPr>
          <a:xfrm>
            <a:off x="4903711" y="4037819"/>
            <a:ext cx="5050751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75AD1EA8-0268-4502-A03B-1E92F6125EAE}"/>
              </a:ext>
            </a:extLst>
          </p:cNvPr>
          <p:cNvSpPr/>
          <p:nvPr/>
        </p:nvSpPr>
        <p:spPr>
          <a:xfrm>
            <a:off x="7068874" y="4742670"/>
            <a:ext cx="374172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5B0A56A1-6823-4E1E-A37A-A7C52C276AC4}"/>
              </a:ext>
            </a:extLst>
          </p:cNvPr>
          <p:cNvSpPr/>
          <p:nvPr/>
        </p:nvSpPr>
        <p:spPr>
          <a:xfrm>
            <a:off x="7059061" y="54665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04350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58E4B3-3CD0-46A1-B0DC-45D3A5347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42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3A5431-25A4-4359-8D26-0CF7E237F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6A70266A-0BFA-4322-BCFD-D0ED95976F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3315235"/>
              </p:ext>
            </p:extLst>
          </p:nvPr>
        </p:nvGraphicFramePr>
        <p:xfrm>
          <a:off x="637989" y="2971800"/>
          <a:ext cx="10990434" cy="30603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5418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960133229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67015742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6734095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3363831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3628257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5871826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05888152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2697736"/>
                    </a:ext>
                  </a:extLst>
                </a:gridCol>
              </a:tblGrid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a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eb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p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y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l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g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p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ct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v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c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613EA-3D20-46F5-AA0A-C221C6EA7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7</a:t>
            </a:fld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C9940D-2C12-4FA3-B381-FA2462FEC307}"/>
              </a:ext>
            </a:extLst>
          </p:cNvPr>
          <p:cNvSpPr/>
          <p:nvPr/>
        </p:nvSpPr>
        <p:spPr>
          <a:xfrm rot="16200000">
            <a:off x="-418238" y="4485226"/>
            <a:ext cx="2603179" cy="490724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BADDE0-7AD0-451B-9A40-772ACAC3AF12}"/>
              </a:ext>
            </a:extLst>
          </p:cNvPr>
          <p:cNvSpPr/>
          <p:nvPr/>
        </p:nvSpPr>
        <p:spPr>
          <a:xfrm>
            <a:off x="139386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BCA49CA-B887-40D4-AF92-4A6344EB8C0A}"/>
              </a:ext>
            </a:extLst>
          </p:cNvPr>
          <p:cNvSpPr/>
          <p:nvPr/>
        </p:nvSpPr>
        <p:spPr>
          <a:xfrm>
            <a:off x="6465189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4E9E58B-8F06-418E-9752-0C8AE6F39C2A}"/>
              </a:ext>
            </a:extLst>
          </p:cNvPr>
          <p:cNvSpPr/>
          <p:nvPr/>
        </p:nvSpPr>
        <p:spPr>
          <a:xfrm>
            <a:off x="1153651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AA4726-C81E-4D7E-88AD-DEAD29849DAC}"/>
              </a:ext>
            </a:extLst>
          </p:cNvPr>
          <p:cNvSpPr/>
          <p:nvPr/>
        </p:nvSpPr>
        <p:spPr>
          <a:xfrm>
            <a:off x="1363663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C760A2-1538-4E1F-903F-9F0D74F2465C}"/>
              </a:ext>
            </a:extLst>
          </p:cNvPr>
          <p:cNvSpPr/>
          <p:nvPr/>
        </p:nvSpPr>
        <p:spPr>
          <a:xfrm>
            <a:off x="10548416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8324D5B-C8A8-47EC-9079-C6C456083AED}"/>
              </a:ext>
            </a:extLst>
          </p:cNvPr>
          <p:cNvSpPr/>
          <p:nvPr/>
        </p:nvSpPr>
        <p:spPr>
          <a:xfrm>
            <a:off x="5956039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387639C-D745-4457-AF67-5EBDFDDE67F7}"/>
              </a:ext>
            </a:extLst>
          </p:cNvPr>
          <p:cNvSpPr/>
          <p:nvPr/>
        </p:nvSpPr>
        <p:spPr>
          <a:xfrm>
            <a:off x="309883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02902A4-44C0-4D50-87F0-EAAF45B2581F}"/>
              </a:ext>
            </a:extLst>
          </p:cNvPr>
          <p:cNvSpPr/>
          <p:nvPr/>
        </p:nvSpPr>
        <p:spPr>
          <a:xfrm>
            <a:off x="734698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10B1E66-8002-4991-99F3-790DE254551E}"/>
              </a:ext>
            </a:extLst>
          </p:cNvPr>
          <p:cNvSpPr/>
          <p:nvPr/>
        </p:nvSpPr>
        <p:spPr>
          <a:xfrm>
            <a:off x="334228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E79863B-25B1-491D-95C9-3B5720F6DA20}"/>
              </a:ext>
            </a:extLst>
          </p:cNvPr>
          <p:cNvSpPr/>
          <p:nvPr/>
        </p:nvSpPr>
        <p:spPr>
          <a:xfrm>
            <a:off x="759043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0294E2C-B96E-44A3-9F95-9BF9F30E0636}"/>
              </a:ext>
            </a:extLst>
          </p:cNvPr>
          <p:cNvCxnSpPr>
            <a:cxnSpLocks/>
          </p:cNvCxnSpPr>
          <p:nvPr/>
        </p:nvCxnSpPr>
        <p:spPr>
          <a:xfrm flipV="1">
            <a:off x="319008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2CB887E-76E7-4DFD-B9F9-2AC02B7D5048}"/>
              </a:ext>
            </a:extLst>
          </p:cNvPr>
          <p:cNvCxnSpPr>
            <a:cxnSpLocks/>
          </p:cNvCxnSpPr>
          <p:nvPr/>
        </p:nvCxnSpPr>
        <p:spPr>
          <a:xfrm flipV="1">
            <a:off x="743823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85D8B865-A7D6-431F-A335-BFEA91FAFA01}"/>
              </a:ext>
            </a:extLst>
          </p:cNvPr>
          <p:cNvSpPr/>
          <p:nvPr/>
        </p:nvSpPr>
        <p:spPr>
          <a:xfrm>
            <a:off x="3878941" y="3490253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D43F508C-B1E5-4E7A-AF4C-E895C75383F4}"/>
              </a:ext>
            </a:extLst>
          </p:cNvPr>
          <p:cNvSpPr/>
          <p:nvPr/>
        </p:nvSpPr>
        <p:spPr>
          <a:xfrm>
            <a:off x="1535791" y="3490253"/>
            <a:ext cx="2440897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0A93FC78-C9A6-4D78-BE0B-4F4B76A6BF79}"/>
              </a:ext>
            </a:extLst>
          </p:cNvPr>
          <p:cNvSpPr/>
          <p:nvPr/>
        </p:nvSpPr>
        <p:spPr>
          <a:xfrm>
            <a:off x="2364466" y="3928403"/>
            <a:ext cx="417920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9C35E78-A404-400D-925F-2D7E8B18D4EC}"/>
              </a:ext>
            </a:extLst>
          </p:cNvPr>
          <p:cNvSpPr/>
          <p:nvPr/>
        </p:nvSpPr>
        <p:spPr>
          <a:xfrm>
            <a:off x="4061460" y="4355123"/>
            <a:ext cx="2482215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FD71A3E-2A8C-4E58-8F73-41A5D1BB5D75}"/>
              </a:ext>
            </a:extLst>
          </p:cNvPr>
          <p:cNvSpPr/>
          <p:nvPr/>
        </p:nvSpPr>
        <p:spPr>
          <a:xfrm>
            <a:off x="8945880" y="4783748"/>
            <a:ext cx="1897380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7D1F3CA-FD48-4591-AFE3-F1D1BFD96991}"/>
              </a:ext>
            </a:extLst>
          </p:cNvPr>
          <p:cNvSpPr/>
          <p:nvPr/>
        </p:nvSpPr>
        <p:spPr>
          <a:xfrm>
            <a:off x="6105881" y="47837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EC14C990-C31B-42D4-B047-32E7F40CA221}"/>
              </a:ext>
            </a:extLst>
          </p:cNvPr>
          <p:cNvSpPr/>
          <p:nvPr/>
        </p:nvSpPr>
        <p:spPr>
          <a:xfrm>
            <a:off x="7835621" y="52282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42AB3D98-53F9-496C-BDCB-CE4435EFA472}"/>
              </a:ext>
            </a:extLst>
          </p:cNvPr>
          <p:cNvSpPr/>
          <p:nvPr/>
        </p:nvSpPr>
        <p:spPr>
          <a:xfrm>
            <a:off x="7835621" y="5660048"/>
            <a:ext cx="3700893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96266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3E0586F-340F-49FE-84F5-369BDAC045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00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EC6E5C-FABE-4D2A-BCF6-186FB39C2EF0}"/>
              </a:ext>
            </a:extLst>
          </p:cNvPr>
          <p:cNvSpPr/>
          <p:nvPr/>
        </p:nvSpPr>
        <p:spPr>
          <a:xfrm rot="16200000">
            <a:off x="142754" y="14004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aper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4A4458E-9DEA-48F2-85F6-678789D7F5A0}"/>
              </a:ext>
            </a:extLst>
          </p:cNvPr>
          <p:cNvSpPr/>
          <p:nvPr/>
        </p:nvSpPr>
        <p:spPr>
          <a:xfrm rot="16200000">
            <a:off x="146957" y="2772084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ant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CC8942-D8B9-492E-9E50-00DD0E9B47B1}"/>
              </a:ext>
            </a:extLst>
          </p:cNvPr>
          <p:cNvSpPr/>
          <p:nvPr/>
        </p:nvSpPr>
        <p:spPr>
          <a:xfrm rot="16200000">
            <a:off x="146957" y="41436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ilestone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CC0121F-69AC-4DBA-955F-90F92CFE0A6F}"/>
              </a:ext>
            </a:extLst>
          </p:cNvPr>
          <p:cNvSpPr/>
          <p:nvPr/>
        </p:nvSpPr>
        <p:spPr>
          <a:xfrm rot="16200000">
            <a:off x="146956" y="5528923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Training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F416EF6-E41A-4740-88FF-FE9E876CD922}"/>
              </a:ext>
            </a:extLst>
          </p:cNvPr>
          <p:cNvGrpSpPr/>
          <p:nvPr/>
        </p:nvGrpSpPr>
        <p:grpSpPr>
          <a:xfrm>
            <a:off x="1125763" y="430710"/>
            <a:ext cx="6523030" cy="538851"/>
            <a:chOff x="2301241" y="1431471"/>
            <a:chExt cx="7624440" cy="53702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D3587CD-50AD-475A-B3E3-C9D330B87519}"/>
                </a:ext>
              </a:extLst>
            </p:cNvPr>
            <p:cNvSpPr/>
            <p:nvPr/>
          </p:nvSpPr>
          <p:spPr>
            <a:xfrm>
              <a:off x="2301241" y="1431471"/>
              <a:ext cx="7624440" cy="537029"/>
            </a:xfrm>
            <a:prstGeom prst="rect">
              <a:avLst/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B43EEF5-FBE8-4085-9E21-15A07D9384E8}"/>
                </a:ext>
              </a:extLst>
            </p:cNvPr>
            <p:cNvSpPr/>
            <p:nvPr/>
          </p:nvSpPr>
          <p:spPr>
            <a:xfrm>
              <a:off x="230505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8DD857A-CB38-4572-9AA9-36758F70DD49}"/>
                </a:ext>
              </a:extLst>
            </p:cNvPr>
            <p:cNvSpPr/>
            <p:nvPr/>
          </p:nvSpPr>
          <p:spPr>
            <a:xfrm>
              <a:off x="382905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E3AE42D-9CA1-4ADB-B9CD-39D669E896D5}"/>
                </a:ext>
              </a:extLst>
            </p:cNvPr>
            <p:cNvSpPr/>
            <p:nvPr/>
          </p:nvSpPr>
          <p:spPr>
            <a:xfrm>
              <a:off x="533781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pring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87465A99-E7D1-472E-8A4B-0645D9F27B69}"/>
                </a:ext>
              </a:extLst>
            </p:cNvPr>
            <p:cNvSpPr/>
            <p:nvPr/>
          </p:nvSpPr>
          <p:spPr>
            <a:xfrm>
              <a:off x="6871335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D4C7AB5-20B7-44C1-BCC7-19B0E63114E6}"/>
                </a:ext>
              </a:extLst>
            </p:cNvPr>
            <p:cNvSpPr/>
            <p:nvPr/>
          </p:nvSpPr>
          <p:spPr>
            <a:xfrm>
              <a:off x="840486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FBE47FA-CA76-4E2B-910B-318AE72B6AEE}"/>
                </a:ext>
              </a:extLst>
            </p:cNvPr>
            <p:cNvGrpSpPr/>
            <p:nvPr/>
          </p:nvGrpSpPr>
          <p:grpSpPr>
            <a:xfrm>
              <a:off x="3825875" y="1517150"/>
              <a:ext cx="4562475" cy="365671"/>
              <a:chOff x="3825875" y="-558800"/>
              <a:chExt cx="4562475" cy="79248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8A881D11-1492-4DCE-8E17-C1F1EDF6FAD4}"/>
                  </a:ext>
                </a:extLst>
              </p:cNvPr>
              <p:cNvCxnSpPr/>
              <p:nvPr/>
            </p:nvCxnSpPr>
            <p:spPr>
              <a:xfrm>
                <a:off x="3825875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4DA6F34-42FF-48AA-B375-4CCA70580DD2}"/>
                  </a:ext>
                </a:extLst>
              </p:cNvPr>
              <p:cNvCxnSpPr/>
              <p:nvPr/>
            </p:nvCxnSpPr>
            <p:spPr>
              <a:xfrm>
                <a:off x="5346700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6FD16E-0191-4E2B-B763-DB93055A4FFB}"/>
                  </a:ext>
                </a:extLst>
              </p:cNvPr>
              <p:cNvCxnSpPr/>
              <p:nvPr/>
            </p:nvCxnSpPr>
            <p:spPr>
              <a:xfrm>
                <a:off x="8388350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59FFA2E-DF41-445E-851F-4E65BD4B8AE1}"/>
                  </a:ext>
                </a:extLst>
              </p:cNvPr>
              <p:cNvCxnSpPr/>
              <p:nvPr/>
            </p:nvCxnSpPr>
            <p:spPr>
              <a:xfrm>
                <a:off x="6867525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85AD7526-C978-45DB-A1EE-7F612A7DACC2}"/>
              </a:ext>
            </a:extLst>
          </p:cNvPr>
          <p:cNvSpPr/>
          <p:nvPr/>
        </p:nvSpPr>
        <p:spPr>
          <a:xfrm>
            <a:off x="1229217" y="1264401"/>
            <a:ext cx="1176441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euron Mapping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AF8E68A-58BF-4873-A0A1-394D0EA522EE}"/>
              </a:ext>
            </a:extLst>
          </p:cNvPr>
          <p:cNvSpPr/>
          <p:nvPr/>
        </p:nvSpPr>
        <p:spPr>
          <a:xfrm>
            <a:off x="1229216" y="2607312"/>
            <a:ext cx="1176441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IH NRSA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4BB60E96-AF3A-40BC-8D37-A51DEB859D29}"/>
              </a:ext>
            </a:extLst>
          </p:cNvPr>
          <p:cNvSpPr/>
          <p:nvPr/>
        </p:nvSpPr>
        <p:spPr>
          <a:xfrm>
            <a:off x="5018285" y="3974232"/>
            <a:ext cx="1315254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esearch Defense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7365FFA6-D700-4F0F-83DB-56C78FFC460C}"/>
              </a:ext>
            </a:extLst>
          </p:cNvPr>
          <p:cNvSpPr/>
          <p:nvPr/>
        </p:nvSpPr>
        <p:spPr>
          <a:xfrm>
            <a:off x="2430149" y="5358525"/>
            <a:ext cx="5218644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JHU Teaching Academy Certificat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4B3DD7-E8D3-411F-AAB4-CFEC8E0619A8}"/>
              </a:ext>
            </a:extLst>
          </p:cNvPr>
          <p:cNvCxnSpPr>
            <a:cxnSpLocks/>
          </p:cNvCxnSpPr>
          <p:nvPr/>
        </p:nvCxnSpPr>
        <p:spPr>
          <a:xfrm>
            <a:off x="1125763" y="2354798"/>
            <a:ext cx="652303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478058-EC6E-494C-9324-5B9C6B9144C9}"/>
              </a:ext>
            </a:extLst>
          </p:cNvPr>
          <p:cNvCxnSpPr>
            <a:cxnSpLocks/>
          </p:cNvCxnSpPr>
          <p:nvPr/>
        </p:nvCxnSpPr>
        <p:spPr>
          <a:xfrm flipV="1">
            <a:off x="1101271" y="3726399"/>
            <a:ext cx="6519672" cy="23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593A9D-A8DD-46A9-8C6C-8B440250D7CB}"/>
              </a:ext>
            </a:extLst>
          </p:cNvPr>
          <p:cNvCxnSpPr>
            <a:cxnSpLocks/>
          </p:cNvCxnSpPr>
          <p:nvPr/>
        </p:nvCxnSpPr>
        <p:spPr>
          <a:xfrm>
            <a:off x="1125763" y="5098000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EE58FF3-9B84-49CC-BD15-8603F5D40B61}"/>
              </a:ext>
            </a:extLst>
          </p:cNvPr>
          <p:cNvCxnSpPr>
            <a:cxnSpLocks/>
          </p:cNvCxnSpPr>
          <p:nvPr/>
        </p:nvCxnSpPr>
        <p:spPr>
          <a:xfrm>
            <a:off x="1101271" y="6469599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rrow: Pentagon 26">
            <a:extLst>
              <a:ext uri="{FF2B5EF4-FFF2-40B4-BE49-F238E27FC236}">
                <a16:creationId xmlns:a16="http://schemas.microsoft.com/office/drawing/2014/main" id="{9FD81E93-BF90-5FE2-989A-982ACFDDD943}"/>
              </a:ext>
            </a:extLst>
          </p:cNvPr>
          <p:cNvSpPr/>
          <p:nvPr/>
        </p:nvSpPr>
        <p:spPr>
          <a:xfrm>
            <a:off x="2430149" y="1264406"/>
            <a:ext cx="1293527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hole-brain tracing</a:t>
            </a:r>
          </a:p>
        </p:txBody>
      </p:sp>
      <p:sp>
        <p:nvSpPr>
          <p:cNvPr id="40" name="Arrow: Pentagon 28">
            <a:extLst>
              <a:ext uri="{FF2B5EF4-FFF2-40B4-BE49-F238E27FC236}">
                <a16:creationId xmlns:a16="http://schemas.microsoft.com/office/drawing/2014/main" id="{9F42507A-46C9-BF00-76D5-954D83D445D4}"/>
              </a:ext>
            </a:extLst>
          </p:cNvPr>
          <p:cNvSpPr/>
          <p:nvPr/>
        </p:nvSpPr>
        <p:spPr>
          <a:xfrm>
            <a:off x="6333539" y="3980107"/>
            <a:ext cx="1315254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ublic Dissertation Defense</a:t>
            </a:r>
          </a:p>
        </p:txBody>
      </p:sp>
      <p:sp>
        <p:nvSpPr>
          <p:cNvPr id="41" name="Arrow: Pentagon 26">
            <a:extLst>
              <a:ext uri="{FF2B5EF4-FFF2-40B4-BE49-F238E27FC236}">
                <a16:creationId xmlns:a16="http://schemas.microsoft.com/office/drawing/2014/main" id="{E6E0BBEB-FA9D-D66E-C54C-98EA090D9A78}"/>
              </a:ext>
            </a:extLst>
          </p:cNvPr>
          <p:cNvSpPr/>
          <p:nvPr/>
        </p:nvSpPr>
        <p:spPr>
          <a:xfrm>
            <a:off x="3763229" y="1269288"/>
            <a:ext cx="1293527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Effect of Yap on morphology</a:t>
            </a:r>
          </a:p>
        </p:txBody>
      </p:sp>
    </p:spTree>
    <p:extLst>
      <p:ext uri="{BB962C8B-B14F-4D97-AF65-F5344CB8AC3E}">
        <p14:creationId xmlns:p14="http://schemas.microsoft.com/office/powerpoint/2010/main" val="1825499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3346D2-06D3-49CE-B333-943AA279E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51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969C0188-0D37-4105-B325-0815C96A9E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0702855"/>
              </p:ext>
            </p:extLst>
          </p:nvPr>
        </p:nvGraphicFramePr>
        <p:xfrm>
          <a:off x="556623" y="1898810"/>
          <a:ext cx="5989320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234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1573494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A93912-7031-464B-B413-FF7B447CD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EFD4D9-B629-47FC-BC5F-DC5284352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9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EBE088-9B51-406E-886E-429CD7AFFD86}"/>
              </a:ext>
            </a:extLst>
          </p:cNvPr>
          <p:cNvSpPr/>
          <p:nvPr/>
        </p:nvSpPr>
        <p:spPr>
          <a:xfrm rot="16200000">
            <a:off x="181521" y="2711808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B3666F2-53D8-4224-83F5-DF7579422C1B}"/>
              </a:ext>
            </a:extLst>
          </p:cNvPr>
          <p:cNvSpPr/>
          <p:nvPr/>
        </p:nvSpPr>
        <p:spPr>
          <a:xfrm rot="16200000">
            <a:off x="914013" y="2512886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5C25D2D-CBCB-4782-A752-059A77A2E0C4}"/>
              </a:ext>
            </a:extLst>
          </p:cNvPr>
          <p:cNvSpPr/>
          <p:nvPr/>
        </p:nvSpPr>
        <p:spPr>
          <a:xfrm rot="16200000">
            <a:off x="914012" y="3156826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5D2770C-8A99-49A7-B671-4540E68A0E37}"/>
              </a:ext>
            </a:extLst>
          </p:cNvPr>
          <p:cNvSpPr/>
          <p:nvPr/>
        </p:nvSpPr>
        <p:spPr>
          <a:xfrm rot="16200000">
            <a:off x="914013" y="3800667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2BD2C7E-9277-4839-A83C-00932F3752ED}"/>
              </a:ext>
            </a:extLst>
          </p:cNvPr>
          <p:cNvSpPr/>
          <p:nvPr/>
        </p:nvSpPr>
        <p:spPr>
          <a:xfrm rot="16200000">
            <a:off x="914012" y="4444607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59642C1-594F-4C37-A43C-2FA11C72C883}"/>
              </a:ext>
            </a:extLst>
          </p:cNvPr>
          <p:cNvSpPr/>
          <p:nvPr/>
        </p:nvSpPr>
        <p:spPr>
          <a:xfrm rot="16200000">
            <a:off x="914014" y="5086543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467F765-985E-4ABD-84D4-2491897CBB5D}"/>
              </a:ext>
            </a:extLst>
          </p:cNvPr>
          <p:cNvSpPr/>
          <p:nvPr/>
        </p:nvSpPr>
        <p:spPr>
          <a:xfrm rot="16200000">
            <a:off x="914013" y="5730483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7D815F9-2205-407D-9057-91BD5CFCE067}"/>
              </a:ext>
            </a:extLst>
          </p:cNvPr>
          <p:cNvSpPr/>
          <p:nvPr/>
        </p:nvSpPr>
        <p:spPr>
          <a:xfrm rot="16200000">
            <a:off x="181520" y="3998374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652FC56-44E3-4F8D-B090-C226529BBD09}"/>
              </a:ext>
            </a:extLst>
          </p:cNvPr>
          <p:cNvSpPr/>
          <p:nvPr/>
        </p:nvSpPr>
        <p:spPr>
          <a:xfrm rot="16200000">
            <a:off x="181521" y="5284940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27" name="Table 8">
            <a:extLst>
              <a:ext uri="{FF2B5EF4-FFF2-40B4-BE49-F238E27FC236}">
                <a16:creationId xmlns:a16="http://schemas.microsoft.com/office/drawing/2014/main" id="{984F65D1-3B0A-4B0C-B237-FFC86FA3D0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1850985"/>
              </p:ext>
            </p:extLst>
          </p:nvPr>
        </p:nvGraphicFramePr>
        <p:xfrm>
          <a:off x="6545943" y="1898810"/>
          <a:ext cx="5089427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061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425570885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726421007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001568231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609750041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8" name="Arrow: Right 27">
            <a:extLst>
              <a:ext uri="{FF2B5EF4-FFF2-40B4-BE49-F238E27FC236}">
                <a16:creationId xmlns:a16="http://schemas.microsoft.com/office/drawing/2014/main" id="{EEA920CA-9CB2-4AA1-8E15-4F10D62D9C5B}"/>
              </a:ext>
            </a:extLst>
          </p:cNvPr>
          <p:cNvSpPr/>
          <p:nvPr/>
        </p:nvSpPr>
        <p:spPr>
          <a:xfrm>
            <a:off x="6545942" y="250976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65AACC15-C815-421D-9757-53E8CF6C1411}"/>
              </a:ext>
            </a:extLst>
          </p:cNvPr>
          <p:cNvSpPr/>
          <p:nvPr/>
        </p:nvSpPr>
        <p:spPr>
          <a:xfrm>
            <a:off x="7254602" y="3104124"/>
            <a:ext cx="217895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E89966EA-722C-4AA5-81A1-2AB998352FBC}"/>
              </a:ext>
            </a:extLst>
          </p:cNvPr>
          <p:cNvSpPr/>
          <p:nvPr/>
        </p:nvSpPr>
        <p:spPr>
          <a:xfrm>
            <a:off x="7254602" y="375182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2E72AE01-934B-47B8-896D-AA516B372E37}"/>
              </a:ext>
            </a:extLst>
          </p:cNvPr>
          <p:cNvSpPr/>
          <p:nvPr/>
        </p:nvSpPr>
        <p:spPr>
          <a:xfrm>
            <a:off x="8401049" y="43709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D194EB25-4E6C-4305-892E-C3DF0E0D5617}"/>
              </a:ext>
            </a:extLst>
          </p:cNvPr>
          <p:cNvSpPr/>
          <p:nvPr/>
        </p:nvSpPr>
        <p:spPr>
          <a:xfrm>
            <a:off x="9151438" y="49932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264F4793-8B95-48DB-BD39-2F2AE1ED56E9}"/>
              </a:ext>
            </a:extLst>
          </p:cNvPr>
          <p:cNvSpPr/>
          <p:nvPr/>
        </p:nvSpPr>
        <p:spPr>
          <a:xfrm>
            <a:off x="9963150" y="5666349"/>
            <a:ext cx="1664607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9947F83-5338-4A29-9143-85EC1F0CB089}"/>
              </a:ext>
            </a:extLst>
          </p:cNvPr>
          <p:cNvSpPr/>
          <p:nvPr/>
        </p:nvSpPr>
        <p:spPr>
          <a:xfrm>
            <a:off x="1381129" y="1156954"/>
            <a:ext cx="10254241" cy="6297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mi. Ut i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BE0E15-DB3E-4D71-BEBA-3C1644391654}"/>
              </a:ext>
            </a:extLst>
          </p:cNvPr>
          <p:cNvSpPr/>
          <p:nvPr/>
        </p:nvSpPr>
        <p:spPr>
          <a:xfrm>
            <a:off x="592582" y="1178266"/>
            <a:ext cx="566777" cy="566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D3A2591-5379-43CC-9587-918D399E3C0D}"/>
              </a:ext>
            </a:extLst>
          </p:cNvPr>
          <p:cNvGrpSpPr/>
          <p:nvPr/>
        </p:nvGrpSpPr>
        <p:grpSpPr>
          <a:xfrm>
            <a:off x="702933" y="1280679"/>
            <a:ext cx="346075" cy="361950"/>
            <a:chOff x="2676526" y="5394325"/>
            <a:chExt cx="346075" cy="361950"/>
          </a:xfrm>
          <a:solidFill>
            <a:srgbClr val="5E5E5E"/>
          </a:solidFill>
        </p:grpSpPr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BD1BA454-AE9C-4651-8058-C10A94F68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19">
              <a:extLst>
                <a:ext uri="{FF2B5EF4-FFF2-40B4-BE49-F238E27FC236}">
                  <a16:creationId xmlns:a16="http://schemas.microsoft.com/office/drawing/2014/main" id="{B1DCC4E5-B5C1-4B16-9278-CA2692ED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07203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IyW69lqkY8pDh.NaBk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7</TotalTime>
  <Words>880</Words>
  <Application>Microsoft Macintosh PowerPoint</Application>
  <PresentationFormat>Widescreen</PresentationFormat>
  <Paragraphs>318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Bahnschrift</vt:lpstr>
      <vt:lpstr>Calibri</vt:lpstr>
      <vt:lpstr>Calibri Light</vt:lpstr>
      <vt:lpstr>Consolas</vt:lpstr>
      <vt:lpstr>Segoe UI</vt:lpstr>
      <vt:lpstr>Segoe UI Light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Multiple project timelines</vt:lpstr>
      <vt:lpstr>Multiple project timelines</vt:lpstr>
      <vt:lpstr>Multiple project timelines</vt:lpstr>
      <vt:lpstr>PowerPoint Presentation</vt:lpstr>
      <vt:lpstr>Multiple project timelines</vt:lpstr>
      <vt:lpstr>Multiple project timelines</vt:lpstr>
      <vt:lpstr>Multiple project timelines</vt:lpstr>
      <vt:lpstr>Multiple project timelines</vt:lpstr>
      <vt:lpstr>Multiple project timelin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Thomas Athey</cp:lastModifiedBy>
  <cp:revision>60</cp:revision>
  <dcterms:created xsi:type="dcterms:W3CDTF">2021-03-19T04:42:01Z</dcterms:created>
  <dcterms:modified xsi:type="dcterms:W3CDTF">2022-05-04T18:01:48Z</dcterms:modified>
</cp:coreProperties>
</file>